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6" r:id="rId5"/>
    <p:sldMasterId id="2147483730" r:id="rId6"/>
    <p:sldMasterId id="2147483800" r:id="rId7"/>
    <p:sldMasterId id="2147483656" r:id="rId8"/>
    <p:sldMasterId id="2147483831" r:id="rId9"/>
  </p:sldMasterIdLst>
  <p:notesMasterIdLst>
    <p:notesMasterId r:id="rId15"/>
  </p:notesMasterIdLst>
  <p:handoutMasterIdLst>
    <p:handoutMasterId r:id="rId16"/>
  </p:handoutMasterIdLst>
  <p:sldIdLst>
    <p:sldId id="8159" r:id="rId10"/>
    <p:sldId id="1881838840" r:id="rId11"/>
    <p:sldId id="1881838842" r:id="rId12"/>
    <p:sldId id="1881838843" r:id="rId13"/>
    <p:sldId id="1881838841" r:id="rId14"/>
  </p:sldIdLst>
  <p:sldSz cx="9144000" cy="5143500" type="screen16x9"/>
  <p:notesSz cx="6670675" cy="9875838"/>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6">
          <p15:clr>
            <a:srgbClr val="A4A3A4"/>
          </p15:clr>
        </p15:guide>
        <p15:guide id="7" pos="5666">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0051"/>
    <a:srgbClr val="00ADD0"/>
    <a:srgbClr val="00A9CE"/>
    <a:srgbClr val="D8DCDE"/>
    <a:srgbClr val="002F5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EA5FCC-F6BB-42E9-9A28-80F3C2C2743A}" v="899" dt="2021-05-06T02:37:38.0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69" autoAdjust="0"/>
    <p:restoredTop sz="95535" autoAdjust="0"/>
  </p:normalViewPr>
  <p:slideViewPr>
    <p:cSldViewPr snapToGrid="0" snapToObjects="1" showGuides="1">
      <p:cViewPr varScale="1">
        <p:scale>
          <a:sx n="97" d="100"/>
          <a:sy n="97" d="100"/>
        </p:scale>
        <p:origin x="1133" y="72"/>
      </p:cViewPr>
      <p:guideLst>
        <p:guide orient="horz"/>
        <p:guide/>
        <p:guide pos="5666"/>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55" d="100"/>
          <a:sy n="55" d="100"/>
        </p:scale>
        <p:origin x="-2770" y="-82"/>
      </p:cViewPr>
      <p:guideLst>
        <p:guide orient="horz" pos="3111"/>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5" Type="http://schemas.openxmlformats.org/officeDocument/2006/relationships/slideMaster" Target="slideMasters/slideMaster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ih, Bill" userId="5c4cd57f-46dc-4e26-b23c-ab4e3cb8751d" providerId="ADAL" clId="{5D500C72-929A-49AA-BEB3-0D1953AC6B17}"/>
    <pc:docChg chg="undo custSel modSld">
      <pc:chgData name="Shih, Bill" userId="5c4cd57f-46dc-4e26-b23c-ab4e3cb8751d" providerId="ADAL" clId="{5D500C72-929A-49AA-BEB3-0D1953AC6B17}" dt="2021-04-16T05:08:22.308" v="118" actId="1038"/>
      <pc:docMkLst>
        <pc:docMk/>
      </pc:docMkLst>
      <pc:sldChg chg="modSp mod">
        <pc:chgData name="Shih, Bill" userId="5c4cd57f-46dc-4e26-b23c-ab4e3cb8751d" providerId="ADAL" clId="{5D500C72-929A-49AA-BEB3-0D1953AC6B17}" dt="2021-04-16T05:07:14.543" v="6" actId="20577"/>
        <pc:sldMkLst>
          <pc:docMk/>
          <pc:sldMk cId="4006182202" sldId="1881838838"/>
        </pc:sldMkLst>
        <pc:spChg chg="mod">
          <ac:chgData name="Shih, Bill" userId="5c4cd57f-46dc-4e26-b23c-ab4e3cb8751d" providerId="ADAL" clId="{5D500C72-929A-49AA-BEB3-0D1953AC6B17}" dt="2021-04-16T05:07:14.543" v="6" actId="20577"/>
          <ac:spMkLst>
            <pc:docMk/>
            <pc:sldMk cId="4006182202" sldId="1881838838"/>
            <ac:spMk id="22" creationId="{9AC37088-D362-4C93-848A-14D9B19C5688}"/>
          </ac:spMkLst>
        </pc:spChg>
      </pc:sldChg>
      <pc:sldChg chg="addSp delSp modSp mod">
        <pc:chgData name="Shih, Bill" userId="5c4cd57f-46dc-4e26-b23c-ab4e3cb8751d" providerId="ADAL" clId="{5D500C72-929A-49AA-BEB3-0D1953AC6B17}" dt="2021-04-16T05:08:22.308" v="118" actId="1038"/>
        <pc:sldMkLst>
          <pc:docMk/>
          <pc:sldMk cId="3686861912" sldId="1881838839"/>
        </pc:sldMkLst>
        <pc:spChg chg="mod">
          <ac:chgData name="Shih, Bill" userId="5c4cd57f-46dc-4e26-b23c-ab4e3cb8751d" providerId="ADAL" clId="{5D500C72-929A-49AA-BEB3-0D1953AC6B17}" dt="2021-04-16T05:08:15.755" v="55" actId="164"/>
          <ac:spMkLst>
            <pc:docMk/>
            <pc:sldMk cId="3686861912" sldId="1881838839"/>
            <ac:spMk id="20" creationId="{D53C92E7-2F76-426F-8DE0-997A1672A6A9}"/>
          </ac:spMkLst>
        </pc:spChg>
        <pc:spChg chg="del">
          <ac:chgData name="Shih, Bill" userId="5c4cd57f-46dc-4e26-b23c-ab4e3cb8751d" providerId="ADAL" clId="{5D500C72-929A-49AA-BEB3-0D1953AC6B17}" dt="2021-04-16T05:07:34.928" v="7" actId="478"/>
          <ac:spMkLst>
            <pc:docMk/>
            <pc:sldMk cId="3686861912" sldId="1881838839"/>
            <ac:spMk id="21" creationId="{71999B23-B163-462E-912D-EFF1C9810035}"/>
          </ac:spMkLst>
        </pc:spChg>
        <pc:spChg chg="del">
          <ac:chgData name="Shih, Bill" userId="5c4cd57f-46dc-4e26-b23c-ab4e3cb8751d" providerId="ADAL" clId="{5D500C72-929A-49AA-BEB3-0D1953AC6B17}" dt="2021-04-16T05:07:39.621" v="10" actId="478"/>
          <ac:spMkLst>
            <pc:docMk/>
            <pc:sldMk cId="3686861912" sldId="1881838839"/>
            <ac:spMk id="30" creationId="{1B35EAF5-0351-47DF-B3A2-25C1CE4920CD}"/>
          </ac:spMkLst>
        </pc:spChg>
        <pc:spChg chg="del">
          <ac:chgData name="Shih, Bill" userId="5c4cd57f-46dc-4e26-b23c-ab4e3cb8751d" providerId="ADAL" clId="{5D500C72-929A-49AA-BEB3-0D1953AC6B17}" dt="2021-04-16T05:07:37.316" v="8" actId="478"/>
          <ac:spMkLst>
            <pc:docMk/>
            <pc:sldMk cId="3686861912" sldId="1881838839"/>
            <ac:spMk id="31" creationId="{3F529D59-6B5D-459F-A0C2-BFD46B8CE993}"/>
          </ac:spMkLst>
        </pc:spChg>
        <pc:spChg chg="mod">
          <ac:chgData name="Shih, Bill" userId="5c4cd57f-46dc-4e26-b23c-ab4e3cb8751d" providerId="ADAL" clId="{5D500C72-929A-49AA-BEB3-0D1953AC6B17}" dt="2021-04-16T05:08:15.755" v="55" actId="164"/>
          <ac:spMkLst>
            <pc:docMk/>
            <pc:sldMk cId="3686861912" sldId="1881838839"/>
            <ac:spMk id="33" creationId="{BCC1EC89-EB63-481B-9173-C834D9B63640}"/>
          </ac:spMkLst>
        </pc:spChg>
        <pc:spChg chg="mod">
          <ac:chgData name="Shih, Bill" userId="5c4cd57f-46dc-4e26-b23c-ab4e3cb8751d" providerId="ADAL" clId="{5D500C72-929A-49AA-BEB3-0D1953AC6B17}" dt="2021-04-16T05:08:15.755" v="55" actId="164"/>
          <ac:spMkLst>
            <pc:docMk/>
            <pc:sldMk cId="3686861912" sldId="1881838839"/>
            <ac:spMk id="34" creationId="{C269E0F3-CDCF-4C5C-8FB0-C22371A3F51C}"/>
          </ac:spMkLst>
        </pc:spChg>
        <pc:spChg chg="mod">
          <ac:chgData name="Shih, Bill" userId="5c4cd57f-46dc-4e26-b23c-ab4e3cb8751d" providerId="ADAL" clId="{5D500C72-929A-49AA-BEB3-0D1953AC6B17}" dt="2021-04-16T05:08:15.755" v="55" actId="164"/>
          <ac:spMkLst>
            <pc:docMk/>
            <pc:sldMk cId="3686861912" sldId="1881838839"/>
            <ac:spMk id="35" creationId="{9C5EB7F2-BDA5-4524-B2A3-B8ADA9C71762}"/>
          </ac:spMkLst>
        </pc:spChg>
        <pc:spChg chg="mod">
          <ac:chgData name="Shih, Bill" userId="5c4cd57f-46dc-4e26-b23c-ab4e3cb8751d" providerId="ADAL" clId="{5D500C72-929A-49AA-BEB3-0D1953AC6B17}" dt="2021-04-16T05:08:15.755" v="55" actId="164"/>
          <ac:spMkLst>
            <pc:docMk/>
            <pc:sldMk cId="3686861912" sldId="1881838839"/>
            <ac:spMk id="37" creationId="{1E953699-8389-4716-BA0F-D97E5B5A0B49}"/>
          </ac:spMkLst>
        </pc:spChg>
        <pc:spChg chg="mod">
          <ac:chgData name="Shih, Bill" userId="5c4cd57f-46dc-4e26-b23c-ab4e3cb8751d" providerId="ADAL" clId="{5D500C72-929A-49AA-BEB3-0D1953AC6B17}" dt="2021-04-16T05:08:15.755" v="55" actId="164"/>
          <ac:spMkLst>
            <pc:docMk/>
            <pc:sldMk cId="3686861912" sldId="1881838839"/>
            <ac:spMk id="38" creationId="{22CA4627-EA40-42B1-85D5-959599F50871}"/>
          </ac:spMkLst>
        </pc:spChg>
        <pc:spChg chg="mod">
          <ac:chgData name="Shih, Bill" userId="5c4cd57f-46dc-4e26-b23c-ab4e3cb8751d" providerId="ADAL" clId="{5D500C72-929A-49AA-BEB3-0D1953AC6B17}" dt="2021-04-16T05:08:15.755" v="55" actId="164"/>
          <ac:spMkLst>
            <pc:docMk/>
            <pc:sldMk cId="3686861912" sldId="1881838839"/>
            <ac:spMk id="39" creationId="{CB92A6AF-B75C-48B9-A868-E59D481A202D}"/>
          </ac:spMkLst>
        </pc:spChg>
        <pc:spChg chg="del">
          <ac:chgData name="Shih, Bill" userId="5c4cd57f-46dc-4e26-b23c-ab4e3cb8751d" providerId="ADAL" clId="{5D500C72-929A-49AA-BEB3-0D1953AC6B17}" dt="2021-04-16T05:07:40.887" v="12" actId="478"/>
          <ac:spMkLst>
            <pc:docMk/>
            <pc:sldMk cId="3686861912" sldId="1881838839"/>
            <ac:spMk id="64" creationId="{2689AC74-08A5-4E77-8437-972CD3E13CC0}"/>
          </ac:spMkLst>
        </pc:spChg>
        <pc:spChg chg="mod">
          <ac:chgData name="Shih, Bill" userId="5c4cd57f-46dc-4e26-b23c-ab4e3cb8751d" providerId="ADAL" clId="{5D500C72-929A-49AA-BEB3-0D1953AC6B17}" dt="2021-04-16T05:08:15.755" v="55" actId="164"/>
          <ac:spMkLst>
            <pc:docMk/>
            <pc:sldMk cId="3686861912" sldId="1881838839"/>
            <ac:spMk id="91" creationId="{B12BC2A9-27DB-46C9-9A22-D463D789666C}"/>
          </ac:spMkLst>
        </pc:spChg>
        <pc:spChg chg="mod">
          <ac:chgData name="Shih, Bill" userId="5c4cd57f-46dc-4e26-b23c-ab4e3cb8751d" providerId="ADAL" clId="{5D500C72-929A-49AA-BEB3-0D1953AC6B17}" dt="2021-04-16T05:08:15.755" v="55" actId="164"/>
          <ac:spMkLst>
            <pc:docMk/>
            <pc:sldMk cId="3686861912" sldId="1881838839"/>
            <ac:spMk id="92" creationId="{ED2FD99B-F622-4669-A842-F4CFD476E39B}"/>
          </ac:spMkLst>
        </pc:spChg>
        <pc:grpChg chg="add mod">
          <ac:chgData name="Shih, Bill" userId="5c4cd57f-46dc-4e26-b23c-ab4e3cb8751d" providerId="ADAL" clId="{5D500C72-929A-49AA-BEB3-0D1953AC6B17}" dt="2021-04-16T05:08:22.308" v="118" actId="1038"/>
          <ac:grpSpMkLst>
            <pc:docMk/>
            <pc:sldMk cId="3686861912" sldId="1881838839"/>
            <ac:grpSpMk id="2" creationId="{8331756D-D12C-44A0-91C0-DC6BF4318379}"/>
          </ac:grpSpMkLst>
        </pc:grpChg>
        <pc:grpChg chg="mod">
          <ac:chgData name="Shih, Bill" userId="5c4cd57f-46dc-4e26-b23c-ab4e3cb8751d" providerId="ADAL" clId="{5D500C72-929A-49AA-BEB3-0D1953AC6B17}" dt="2021-04-16T05:08:15.755" v="55" actId="164"/>
          <ac:grpSpMkLst>
            <pc:docMk/>
            <pc:sldMk cId="3686861912" sldId="1881838839"/>
            <ac:grpSpMk id="40" creationId="{DB70B15C-9C19-4B1B-87A8-CF2A6CA718B3}"/>
          </ac:grpSpMkLst>
        </pc:grpChg>
        <pc:grpChg chg="del">
          <ac:chgData name="Shih, Bill" userId="5c4cd57f-46dc-4e26-b23c-ab4e3cb8751d" providerId="ADAL" clId="{5D500C72-929A-49AA-BEB3-0D1953AC6B17}" dt="2021-04-16T05:07:40.353" v="11" actId="478"/>
          <ac:grpSpMkLst>
            <pc:docMk/>
            <pc:sldMk cId="3686861912" sldId="1881838839"/>
            <ac:grpSpMk id="43" creationId="{020CBC7A-4C57-452A-BB90-74A4E4EF948B}"/>
          </ac:grpSpMkLst>
        </pc:grpChg>
        <pc:grpChg chg="mod">
          <ac:chgData name="Shih, Bill" userId="5c4cd57f-46dc-4e26-b23c-ab4e3cb8751d" providerId="ADAL" clId="{5D500C72-929A-49AA-BEB3-0D1953AC6B17}" dt="2021-04-16T05:08:15.755" v="55" actId="164"/>
          <ac:grpSpMkLst>
            <pc:docMk/>
            <pc:sldMk cId="3686861912" sldId="1881838839"/>
            <ac:grpSpMk id="65" creationId="{11C1BBFA-77D9-4EF2-9FBF-F10967CB2FB5}"/>
          </ac:grpSpMkLst>
        </pc:grpChg>
        <pc:grpChg chg="mod">
          <ac:chgData name="Shih, Bill" userId="5c4cd57f-46dc-4e26-b23c-ab4e3cb8751d" providerId="ADAL" clId="{5D500C72-929A-49AA-BEB3-0D1953AC6B17}" dt="2021-04-16T05:08:15.755" v="55" actId="164"/>
          <ac:grpSpMkLst>
            <pc:docMk/>
            <pc:sldMk cId="3686861912" sldId="1881838839"/>
            <ac:grpSpMk id="68" creationId="{7CE83E22-7C6B-4E64-8B00-F3B2F413ED0C}"/>
          </ac:grpSpMkLst>
        </pc:grpChg>
        <pc:grpChg chg="mod">
          <ac:chgData name="Shih, Bill" userId="5c4cd57f-46dc-4e26-b23c-ab4e3cb8751d" providerId="ADAL" clId="{5D500C72-929A-49AA-BEB3-0D1953AC6B17}" dt="2021-04-16T05:08:15.755" v="55" actId="164"/>
          <ac:grpSpMkLst>
            <pc:docMk/>
            <pc:sldMk cId="3686861912" sldId="1881838839"/>
            <ac:grpSpMk id="71" creationId="{472D15CE-3286-4E33-A6BA-D3C4EFD7C7C2}"/>
          </ac:grpSpMkLst>
        </pc:grpChg>
        <pc:cxnChg chg="del">
          <ac:chgData name="Shih, Bill" userId="5c4cd57f-46dc-4e26-b23c-ab4e3cb8751d" providerId="ADAL" clId="{5D500C72-929A-49AA-BEB3-0D1953AC6B17}" dt="2021-04-16T05:07:37.948" v="9" actId="478"/>
          <ac:cxnSpMkLst>
            <pc:docMk/>
            <pc:sldMk cId="3686861912" sldId="1881838839"/>
            <ac:cxnSpMk id="29" creationId="{FB155D99-599D-4A9D-9670-5F1229BC5CAB}"/>
          </ac:cxnSpMkLst>
        </pc:cxnChg>
        <pc:cxnChg chg="mod">
          <ac:chgData name="Shih, Bill" userId="5c4cd57f-46dc-4e26-b23c-ab4e3cb8751d" providerId="ADAL" clId="{5D500C72-929A-49AA-BEB3-0D1953AC6B17}" dt="2021-04-16T05:08:15.755" v="55" actId="164"/>
          <ac:cxnSpMkLst>
            <pc:docMk/>
            <pc:sldMk cId="3686861912" sldId="1881838839"/>
            <ac:cxnSpMk id="32" creationId="{BF5C3040-5F69-40E9-B981-19039E7DA6AD}"/>
          </ac:cxnSpMkLst>
        </pc:cxnChg>
        <pc:cxnChg chg="mod">
          <ac:chgData name="Shih, Bill" userId="5c4cd57f-46dc-4e26-b23c-ab4e3cb8751d" providerId="ADAL" clId="{5D500C72-929A-49AA-BEB3-0D1953AC6B17}" dt="2021-04-16T05:08:15.755" v="55" actId="164"/>
          <ac:cxnSpMkLst>
            <pc:docMk/>
            <pc:sldMk cId="3686861912" sldId="1881838839"/>
            <ac:cxnSpMk id="36" creationId="{52F0BBC3-DA51-4E44-9E93-5B626BEB6382}"/>
          </ac:cxnSpMkLst>
        </pc:cxnChg>
      </pc:sldChg>
    </pc:docChg>
  </pc:docChgLst>
  <pc:docChgLst>
    <pc:chgData name="Shih, Bill" userId="5c4cd57f-46dc-4e26-b23c-ab4e3cb8751d" providerId="ADAL" clId="{CDEA5FCC-F6BB-42E9-9A28-80F3C2C2743A}"/>
    <pc:docChg chg="custSel addSld delSld modSld sldOrd">
      <pc:chgData name="Shih, Bill" userId="5c4cd57f-46dc-4e26-b23c-ab4e3cb8751d" providerId="ADAL" clId="{CDEA5FCC-F6BB-42E9-9A28-80F3C2C2743A}" dt="2021-05-06T02:37:28.635" v="4136"/>
      <pc:docMkLst>
        <pc:docMk/>
      </pc:docMkLst>
      <pc:sldChg chg="addSp delSp modSp mod">
        <pc:chgData name="Shih, Bill" userId="5c4cd57f-46dc-4e26-b23c-ab4e3cb8751d" providerId="ADAL" clId="{CDEA5FCC-F6BB-42E9-9A28-80F3C2C2743A}" dt="2021-05-06T02:25:00.477" v="862"/>
        <pc:sldMkLst>
          <pc:docMk/>
          <pc:sldMk cId="3102320904" sldId="8159"/>
        </pc:sldMkLst>
        <pc:spChg chg="mod">
          <ac:chgData name="Shih, Bill" userId="5c4cd57f-46dc-4e26-b23c-ab4e3cb8751d" providerId="ADAL" clId="{CDEA5FCC-F6BB-42E9-9A28-80F3C2C2743A}" dt="2021-05-06T02:25:00.284" v="823" actId="948"/>
          <ac:spMkLst>
            <pc:docMk/>
            <pc:sldMk cId="3102320904" sldId="8159"/>
            <ac:spMk id="2" creationId="{7BAFA33C-FB9C-45D9-9FA3-39819C30E52D}"/>
          </ac:spMkLst>
        </pc:spChg>
        <pc:spChg chg="add del mod modVis">
          <ac:chgData name="Shih, Bill" userId="5c4cd57f-46dc-4e26-b23c-ab4e3cb8751d" providerId="ADAL" clId="{CDEA5FCC-F6BB-42E9-9A28-80F3C2C2743A}" dt="2021-05-06T02:19:42.372" v="48"/>
          <ac:spMkLst>
            <pc:docMk/>
            <pc:sldMk cId="3102320904" sldId="8159"/>
            <ac:spMk id="7" creationId="{931CB36D-51E6-4DDD-858B-17E4F62DE0C9}"/>
          </ac:spMkLst>
        </pc:spChg>
        <pc:spChg chg="add del mod modVis">
          <ac:chgData name="Shih, Bill" userId="5c4cd57f-46dc-4e26-b23c-ab4e3cb8751d" providerId="ADAL" clId="{CDEA5FCC-F6BB-42E9-9A28-80F3C2C2743A}" dt="2021-05-06T02:19:46.039" v="99"/>
          <ac:spMkLst>
            <pc:docMk/>
            <pc:sldMk cId="3102320904" sldId="8159"/>
            <ac:spMk id="8" creationId="{4CA588E0-82B8-4C9C-84F7-E4786DEAC552}"/>
          </ac:spMkLst>
        </pc:spChg>
        <pc:spChg chg="add del mod modVis">
          <ac:chgData name="Shih, Bill" userId="5c4cd57f-46dc-4e26-b23c-ab4e3cb8751d" providerId="ADAL" clId="{CDEA5FCC-F6BB-42E9-9A28-80F3C2C2743A}" dt="2021-05-06T02:19:47.263" v="150"/>
          <ac:spMkLst>
            <pc:docMk/>
            <pc:sldMk cId="3102320904" sldId="8159"/>
            <ac:spMk id="9" creationId="{29A31247-A5C3-4949-81DC-8BDFE9536F3F}"/>
          </ac:spMkLst>
        </pc:spChg>
        <pc:spChg chg="add del mod modVis">
          <ac:chgData name="Shih, Bill" userId="5c4cd57f-46dc-4e26-b23c-ab4e3cb8751d" providerId="ADAL" clId="{CDEA5FCC-F6BB-42E9-9A28-80F3C2C2743A}" dt="2021-05-06T02:20:05.057" v="201"/>
          <ac:spMkLst>
            <pc:docMk/>
            <pc:sldMk cId="3102320904" sldId="8159"/>
            <ac:spMk id="10" creationId="{04D50CBB-C3A4-4109-BCCC-C7B7FE7E8E85}"/>
          </ac:spMkLst>
        </pc:spChg>
        <pc:spChg chg="add del mod modVis">
          <ac:chgData name="Shih, Bill" userId="5c4cd57f-46dc-4e26-b23c-ab4e3cb8751d" providerId="ADAL" clId="{CDEA5FCC-F6BB-42E9-9A28-80F3C2C2743A}" dt="2021-05-06T02:20:08.280" v="254"/>
          <ac:spMkLst>
            <pc:docMk/>
            <pc:sldMk cId="3102320904" sldId="8159"/>
            <ac:spMk id="11" creationId="{7992B3EA-B190-4FD5-8BD1-874413537BCF}"/>
          </ac:spMkLst>
        </pc:spChg>
        <pc:spChg chg="add del mod modVis">
          <ac:chgData name="Shih, Bill" userId="5c4cd57f-46dc-4e26-b23c-ab4e3cb8751d" providerId="ADAL" clId="{CDEA5FCC-F6BB-42E9-9A28-80F3C2C2743A}" dt="2021-05-06T02:20:12.598" v="306"/>
          <ac:spMkLst>
            <pc:docMk/>
            <pc:sldMk cId="3102320904" sldId="8159"/>
            <ac:spMk id="12" creationId="{E2286010-C292-48AD-8948-9FF14926DCF1}"/>
          </ac:spMkLst>
        </pc:spChg>
        <pc:spChg chg="add del mod modVis">
          <ac:chgData name="Shih, Bill" userId="5c4cd57f-46dc-4e26-b23c-ab4e3cb8751d" providerId="ADAL" clId="{CDEA5FCC-F6BB-42E9-9A28-80F3C2C2743A}" dt="2021-05-06T02:20:13.732" v="357"/>
          <ac:spMkLst>
            <pc:docMk/>
            <pc:sldMk cId="3102320904" sldId="8159"/>
            <ac:spMk id="13" creationId="{897D06BB-4606-4ECD-9160-400C557F4D57}"/>
          </ac:spMkLst>
        </pc:spChg>
        <pc:spChg chg="add del mod modVis">
          <ac:chgData name="Shih, Bill" userId="5c4cd57f-46dc-4e26-b23c-ab4e3cb8751d" providerId="ADAL" clId="{CDEA5FCC-F6BB-42E9-9A28-80F3C2C2743A}" dt="2021-05-06T02:20:17.353" v="408"/>
          <ac:spMkLst>
            <pc:docMk/>
            <pc:sldMk cId="3102320904" sldId="8159"/>
            <ac:spMk id="14" creationId="{0F1FCC9D-37A7-4351-8A20-E5E85DADEDD8}"/>
          </ac:spMkLst>
        </pc:spChg>
        <pc:spChg chg="add del mod modVis">
          <ac:chgData name="Shih, Bill" userId="5c4cd57f-46dc-4e26-b23c-ab4e3cb8751d" providerId="ADAL" clId="{CDEA5FCC-F6BB-42E9-9A28-80F3C2C2743A}" dt="2021-05-06T02:20:18.823" v="459"/>
          <ac:spMkLst>
            <pc:docMk/>
            <pc:sldMk cId="3102320904" sldId="8159"/>
            <ac:spMk id="15" creationId="{F13FAA77-3FE6-48C2-AD00-B88E73F85F9B}"/>
          </ac:spMkLst>
        </pc:spChg>
        <pc:spChg chg="add del mod modVis">
          <ac:chgData name="Shih, Bill" userId="5c4cd57f-46dc-4e26-b23c-ab4e3cb8751d" providerId="ADAL" clId="{CDEA5FCC-F6BB-42E9-9A28-80F3C2C2743A}" dt="2021-05-06T02:20:31.042" v="506"/>
          <ac:spMkLst>
            <pc:docMk/>
            <pc:sldMk cId="3102320904" sldId="8159"/>
            <ac:spMk id="16" creationId="{E8367603-8FBF-4C9B-AF25-FA008E91571E}"/>
          </ac:spMkLst>
        </pc:spChg>
        <pc:spChg chg="add del mod modVis">
          <ac:chgData name="Shih, Bill" userId="5c4cd57f-46dc-4e26-b23c-ab4e3cb8751d" providerId="ADAL" clId="{CDEA5FCC-F6BB-42E9-9A28-80F3C2C2743A}" dt="2021-05-06T02:20:34.031" v="556"/>
          <ac:spMkLst>
            <pc:docMk/>
            <pc:sldMk cId="3102320904" sldId="8159"/>
            <ac:spMk id="17" creationId="{7C2F27A6-6326-43BC-A0E8-AC93B8C0C604}"/>
          </ac:spMkLst>
        </pc:spChg>
        <pc:spChg chg="add del mod modVis">
          <ac:chgData name="Shih, Bill" userId="5c4cd57f-46dc-4e26-b23c-ab4e3cb8751d" providerId="ADAL" clId="{CDEA5FCC-F6BB-42E9-9A28-80F3C2C2743A}" dt="2021-05-06T02:24:40.514" v="597"/>
          <ac:spMkLst>
            <pc:docMk/>
            <pc:sldMk cId="3102320904" sldId="8159"/>
            <ac:spMk id="18" creationId="{E5B91F49-3E99-4D27-B1CB-E796FA5A8209}"/>
          </ac:spMkLst>
        </pc:spChg>
        <pc:spChg chg="add del mod modVis">
          <ac:chgData name="Shih, Bill" userId="5c4cd57f-46dc-4e26-b23c-ab4e3cb8751d" providerId="ADAL" clId="{CDEA5FCC-F6BB-42E9-9A28-80F3C2C2743A}" dt="2021-05-06T02:24:42.958" v="641"/>
          <ac:spMkLst>
            <pc:docMk/>
            <pc:sldMk cId="3102320904" sldId="8159"/>
            <ac:spMk id="19" creationId="{EBCEF0E0-278C-457A-951B-DA8DA6EC8BB9}"/>
          </ac:spMkLst>
        </pc:spChg>
        <pc:spChg chg="add del mod modVis">
          <ac:chgData name="Shih, Bill" userId="5c4cd57f-46dc-4e26-b23c-ab4e3cb8751d" providerId="ADAL" clId="{CDEA5FCC-F6BB-42E9-9A28-80F3C2C2743A}" dt="2021-05-06T02:24:43.854" v="682"/>
          <ac:spMkLst>
            <pc:docMk/>
            <pc:sldMk cId="3102320904" sldId="8159"/>
            <ac:spMk id="20" creationId="{76638175-9F06-456A-9A7A-BE5004698C81}"/>
          </ac:spMkLst>
        </pc:spChg>
        <pc:spChg chg="add del mod modVis">
          <ac:chgData name="Shih, Bill" userId="5c4cd57f-46dc-4e26-b23c-ab4e3cb8751d" providerId="ADAL" clId="{CDEA5FCC-F6BB-42E9-9A28-80F3C2C2743A}" dt="2021-05-06T02:24:48.714" v="732"/>
          <ac:spMkLst>
            <pc:docMk/>
            <pc:sldMk cId="3102320904" sldId="8159"/>
            <ac:spMk id="21" creationId="{A1D2F0F2-5B1C-4325-A3A7-7CB6F1FBEE08}"/>
          </ac:spMkLst>
        </pc:spChg>
        <pc:spChg chg="add del mod modVis">
          <ac:chgData name="Shih, Bill" userId="5c4cd57f-46dc-4e26-b23c-ab4e3cb8751d" providerId="ADAL" clId="{CDEA5FCC-F6BB-42E9-9A28-80F3C2C2743A}" dt="2021-05-06T02:24:49.634" v="775"/>
          <ac:spMkLst>
            <pc:docMk/>
            <pc:sldMk cId="3102320904" sldId="8159"/>
            <ac:spMk id="22" creationId="{6048CE8C-B822-416D-B0A3-AE05B97AB59F}"/>
          </ac:spMkLst>
        </pc:spChg>
        <pc:spChg chg="add del mod modVis">
          <ac:chgData name="Shih, Bill" userId="5c4cd57f-46dc-4e26-b23c-ab4e3cb8751d" providerId="ADAL" clId="{CDEA5FCC-F6BB-42E9-9A28-80F3C2C2743A}" dt="2021-05-06T02:24:51.100" v="819"/>
          <ac:spMkLst>
            <pc:docMk/>
            <pc:sldMk cId="3102320904" sldId="8159"/>
            <ac:spMk id="23" creationId="{2D085DEA-2D3E-48E9-A0E4-D122C24BC49F}"/>
          </ac:spMkLst>
        </pc:spChg>
        <pc:spChg chg="add del mod modVis">
          <ac:chgData name="Shih, Bill" userId="5c4cd57f-46dc-4e26-b23c-ab4e3cb8751d" providerId="ADAL" clId="{CDEA5FCC-F6BB-42E9-9A28-80F3C2C2743A}" dt="2021-05-06T02:25:00.471" v="860"/>
          <ac:spMkLst>
            <pc:docMk/>
            <pc:sldMk cId="3102320904" sldId="8159"/>
            <ac:spMk id="24" creationId="{E29FBC6F-8CE9-4149-B8C9-0C363C3F6D92}"/>
          </ac:spMkLst>
        </pc:spChg>
        <pc:graphicFrameChg chg="mod">
          <ac:chgData name="Shih, Bill" userId="5c4cd57f-46dc-4e26-b23c-ab4e3cb8751d" providerId="ADAL" clId="{CDEA5FCC-F6BB-42E9-9A28-80F3C2C2743A}" dt="2021-05-06T02:25:00.477" v="862"/>
          <ac:graphicFrameMkLst>
            <pc:docMk/>
            <pc:sldMk cId="3102320904" sldId="8159"/>
            <ac:graphicFrameMk id="4" creationId="{01FD91FF-D78F-489D-84BC-B41F31494EEE}"/>
          </ac:graphicFrameMkLst>
        </pc:graphicFrameChg>
        <pc:picChg chg="del">
          <ac:chgData name="Shih, Bill" userId="5c4cd57f-46dc-4e26-b23c-ab4e3cb8751d" providerId="ADAL" clId="{CDEA5FCC-F6BB-42E9-9A28-80F3C2C2743A}" dt="2021-05-06T02:20:26.962" v="462" actId="478"/>
          <ac:picMkLst>
            <pc:docMk/>
            <pc:sldMk cId="3102320904" sldId="8159"/>
            <ac:picMk id="6" creationId="{55040A9B-84CD-46A3-AA48-897EF7FC2478}"/>
          </ac:picMkLst>
        </pc:picChg>
      </pc:sldChg>
      <pc:sldChg chg="del">
        <pc:chgData name="Shih, Bill" userId="5c4cd57f-46dc-4e26-b23c-ab4e3cb8751d" providerId="ADAL" clId="{CDEA5FCC-F6BB-42E9-9A28-80F3C2C2743A}" dt="2021-05-06T02:33:07.333" v="2306" actId="47"/>
        <pc:sldMkLst>
          <pc:docMk/>
          <pc:sldMk cId="4006182202" sldId="1881838838"/>
        </pc:sldMkLst>
      </pc:sldChg>
      <pc:sldChg chg="del">
        <pc:chgData name="Shih, Bill" userId="5c4cd57f-46dc-4e26-b23c-ab4e3cb8751d" providerId="ADAL" clId="{CDEA5FCC-F6BB-42E9-9A28-80F3C2C2743A}" dt="2021-05-06T02:33:11.674" v="2307" actId="47"/>
        <pc:sldMkLst>
          <pc:docMk/>
          <pc:sldMk cId="3686861912" sldId="1881838839"/>
        </pc:sldMkLst>
      </pc:sldChg>
      <pc:sldChg chg="addSp delSp modSp new add mod ord">
        <pc:chgData name="Shih, Bill" userId="5c4cd57f-46dc-4e26-b23c-ab4e3cb8751d" providerId="ADAL" clId="{CDEA5FCC-F6BB-42E9-9A28-80F3C2C2743A}" dt="2021-05-06T02:28:34.077" v="1166"/>
        <pc:sldMkLst>
          <pc:docMk/>
          <pc:sldMk cId="273790743" sldId="1881838840"/>
        </pc:sldMkLst>
        <pc:spChg chg="mod">
          <ac:chgData name="Shih, Bill" userId="5c4cd57f-46dc-4e26-b23c-ab4e3cb8751d" providerId="ADAL" clId="{CDEA5FCC-F6BB-42E9-9A28-80F3C2C2743A}" dt="2021-05-06T02:28:33.957" v="1121" actId="948"/>
          <ac:spMkLst>
            <pc:docMk/>
            <pc:sldMk cId="273790743" sldId="1881838840"/>
            <ac:spMk id="2" creationId="{DDB02969-ECBE-4B07-9C9B-A04A0FB33B84}"/>
          </ac:spMkLst>
        </pc:spChg>
        <pc:spChg chg="add del mod modVis">
          <ac:chgData name="Shih, Bill" userId="5c4cd57f-46dc-4e26-b23c-ab4e3cb8751d" providerId="ADAL" clId="{CDEA5FCC-F6BB-42E9-9A28-80F3C2C2743A}" dt="2021-05-06T02:28:24.438" v="987"/>
          <ac:spMkLst>
            <pc:docMk/>
            <pc:sldMk cId="273790743" sldId="1881838840"/>
            <ac:spMk id="6" creationId="{FBC195D6-436E-4FAF-ADB1-6A059C6EEF7E}"/>
          </ac:spMkLst>
        </pc:spChg>
        <pc:spChg chg="add del mod modVis">
          <ac:chgData name="Shih, Bill" userId="5c4cd57f-46dc-4e26-b23c-ab4e3cb8751d" providerId="ADAL" clId="{CDEA5FCC-F6BB-42E9-9A28-80F3C2C2743A}" dt="2021-05-06T02:28:27.667" v="1046"/>
          <ac:spMkLst>
            <pc:docMk/>
            <pc:sldMk cId="273790743" sldId="1881838840"/>
            <ac:spMk id="7" creationId="{B67FCD3F-5A61-4945-A8CA-96D597B5D1C1}"/>
          </ac:spMkLst>
        </pc:spChg>
        <pc:spChg chg="add del mod modVis">
          <ac:chgData name="Shih, Bill" userId="5c4cd57f-46dc-4e26-b23c-ab4e3cb8751d" providerId="ADAL" clId="{CDEA5FCC-F6BB-42E9-9A28-80F3C2C2743A}" dt="2021-05-06T02:28:31.292" v="1113"/>
          <ac:spMkLst>
            <pc:docMk/>
            <pc:sldMk cId="273790743" sldId="1881838840"/>
            <ac:spMk id="8" creationId="{7FD56B33-7052-40A4-8F63-5E6591CF8394}"/>
          </ac:spMkLst>
        </pc:spChg>
        <pc:spChg chg="add del mod modVis">
          <ac:chgData name="Shih, Bill" userId="5c4cd57f-46dc-4e26-b23c-ab4e3cb8751d" providerId="ADAL" clId="{CDEA5FCC-F6BB-42E9-9A28-80F3C2C2743A}" dt="2021-05-06T02:28:34.073" v="1164"/>
          <ac:spMkLst>
            <pc:docMk/>
            <pc:sldMk cId="273790743" sldId="1881838840"/>
            <ac:spMk id="9" creationId="{8725FA79-7580-4CDF-9F90-5BA74EB3141F}"/>
          </ac:spMkLst>
        </pc:spChg>
        <pc:graphicFrameChg chg="add mod ord modVis">
          <ac:chgData name="Shih, Bill" userId="5c4cd57f-46dc-4e26-b23c-ab4e3cb8751d" providerId="ADAL" clId="{CDEA5FCC-F6BB-42E9-9A28-80F3C2C2743A}" dt="2021-05-06T02:28:34.077" v="1166"/>
          <ac:graphicFrameMkLst>
            <pc:docMk/>
            <pc:sldMk cId="273790743" sldId="1881838840"/>
            <ac:graphicFrameMk id="5" creationId="{A5B41A88-FB9B-47C6-BB95-C1297162BFE9}"/>
          </ac:graphicFrameMkLst>
        </pc:graphicFrameChg>
      </pc:sldChg>
      <pc:sldChg chg="addSp delSp modSp add mod">
        <pc:chgData name="Shih, Bill" userId="5c4cd57f-46dc-4e26-b23c-ab4e3cb8751d" providerId="ADAL" clId="{CDEA5FCC-F6BB-42E9-9A28-80F3C2C2743A}" dt="2021-05-06T02:37:28.635" v="4136"/>
        <pc:sldMkLst>
          <pc:docMk/>
          <pc:sldMk cId="2973465243" sldId="1881838841"/>
        </pc:sldMkLst>
        <pc:spChg chg="mod">
          <ac:chgData name="Shih, Bill" userId="5c4cd57f-46dc-4e26-b23c-ab4e3cb8751d" providerId="ADAL" clId="{CDEA5FCC-F6BB-42E9-9A28-80F3C2C2743A}" dt="2021-05-06T02:37:28.520" v="4091" actId="948"/>
          <ac:spMkLst>
            <pc:docMk/>
            <pc:sldMk cId="2973465243" sldId="1881838841"/>
            <ac:spMk id="2" creationId="{DDB02969-ECBE-4B07-9C9B-A04A0FB33B84}"/>
          </ac:spMkLst>
        </pc:spChg>
        <pc:spChg chg="add del mod modVis">
          <ac:chgData name="Shih, Bill" userId="5c4cd57f-46dc-4e26-b23c-ab4e3cb8751d" providerId="ADAL" clId="{CDEA5FCC-F6BB-42E9-9A28-80F3C2C2743A}" dt="2021-05-06T02:30:52.934" v="1215"/>
          <ac:spMkLst>
            <pc:docMk/>
            <pc:sldMk cId="2973465243" sldId="1881838841"/>
            <ac:spMk id="6" creationId="{D8773EFB-BDCC-4D76-99B7-CFF9B445B1B7}"/>
          </ac:spMkLst>
        </pc:spChg>
        <pc:spChg chg="add del mod modVis">
          <ac:chgData name="Shih, Bill" userId="5c4cd57f-46dc-4e26-b23c-ab4e3cb8751d" providerId="ADAL" clId="{CDEA5FCC-F6BB-42E9-9A28-80F3C2C2743A}" dt="2021-05-06T02:30:55.286" v="1267"/>
          <ac:spMkLst>
            <pc:docMk/>
            <pc:sldMk cId="2973465243" sldId="1881838841"/>
            <ac:spMk id="7" creationId="{96EFCFD2-EA35-4659-B9E6-F2BFC12746E2}"/>
          </ac:spMkLst>
        </pc:spChg>
        <pc:spChg chg="add del mod modVis">
          <ac:chgData name="Shih, Bill" userId="5c4cd57f-46dc-4e26-b23c-ab4e3cb8751d" providerId="ADAL" clId="{CDEA5FCC-F6BB-42E9-9A28-80F3C2C2743A}" dt="2021-05-06T02:30:56.590" v="1317"/>
          <ac:spMkLst>
            <pc:docMk/>
            <pc:sldMk cId="2973465243" sldId="1881838841"/>
            <ac:spMk id="8" creationId="{EB4D773D-F9DE-4F39-B577-9ED2ACC77683}"/>
          </ac:spMkLst>
        </pc:spChg>
        <pc:spChg chg="add del mod modVis">
          <ac:chgData name="Shih, Bill" userId="5c4cd57f-46dc-4e26-b23c-ab4e3cb8751d" providerId="ADAL" clId="{CDEA5FCC-F6BB-42E9-9A28-80F3C2C2743A}" dt="2021-05-06T02:30:58.915" v="1370"/>
          <ac:spMkLst>
            <pc:docMk/>
            <pc:sldMk cId="2973465243" sldId="1881838841"/>
            <ac:spMk id="9" creationId="{96EC6686-2BA0-45CA-841B-2BCDC24E827B}"/>
          </ac:spMkLst>
        </pc:spChg>
        <pc:spChg chg="add del mod modVis">
          <ac:chgData name="Shih, Bill" userId="5c4cd57f-46dc-4e26-b23c-ab4e3cb8751d" providerId="ADAL" clId="{CDEA5FCC-F6BB-42E9-9A28-80F3C2C2743A}" dt="2021-05-06T02:31:00.648" v="1419"/>
          <ac:spMkLst>
            <pc:docMk/>
            <pc:sldMk cId="2973465243" sldId="1881838841"/>
            <ac:spMk id="10" creationId="{970267FD-7407-4A79-9F17-122C2FFBFBE7}"/>
          </ac:spMkLst>
        </pc:spChg>
        <pc:spChg chg="add del mod modVis">
          <ac:chgData name="Shih, Bill" userId="5c4cd57f-46dc-4e26-b23c-ab4e3cb8751d" providerId="ADAL" clId="{CDEA5FCC-F6BB-42E9-9A28-80F3C2C2743A}" dt="2021-05-06T02:31:02.298" v="1474"/>
          <ac:spMkLst>
            <pc:docMk/>
            <pc:sldMk cId="2973465243" sldId="1881838841"/>
            <ac:spMk id="11" creationId="{4BA73A1D-924C-42E5-88BE-52E72EEC7216}"/>
          </ac:spMkLst>
        </pc:spChg>
        <pc:spChg chg="add del mod modVis">
          <ac:chgData name="Shih, Bill" userId="5c4cd57f-46dc-4e26-b23c-ab4e3cb8751d" providerId="ADAL" clId="{CDEA5FCC-F6BB-42E9-9A28-80F3C2C2743A}" dt="2021-05-06T02:31:05.801" v="1536"/>
          <ac:spMkLst>
            <pc:docMk/>
            <pc:sldMk cId="2973465243" sldId="1881838841"/>
            <ac:spMk id="12" creationId="{05510233-E472-46AA-921B-656AD987BD66}"/>
          </ac:spMkLst>
        </pc:spChg>
        <pc:spChg chg="add del mod modVis">
          <ac:chgData name="Shih, Bill" userId="5c4cd57f-46dc-4e26-b23c-ab4e3cb8751d" providerId="ADAL" clId="{CDEA5FCC-F6BB-42E9-9A28-80F3C2C2743A}" dt="2021-05-06T02:31:12.869" v="1584"/>
          <ac:spMkLst>
            <pc:docMk/>
            <pc:sldMk cId="2973465243" sldId="1881838841"/>
            <ac:spMk id="13" creationId="{6FA7F0D7-AE8B-4B8D-A7BA-9E34E880DE45}"/>
          </ac:spMkLst>
        </pc:spChg>
        <pc:spChg chg="add del mod modVis">
          <ac:chgData name="Shih, Bill" userId="5c4cd57f-46dc-4e26-b23c-ab4e3cb8751d" providerId="ADAL" clId="{CDEA5FCC-F6BB-42E9-9A28-80F3C2C2743A}" dt="2021-05-06T02:31:14.226" v="1635"/>
          <ac:spMkLst>
            <pc:docMk/>
            <pc:sldMk cId="2973465243" sldId="1881838841"/>
            <ac:spMk id="14" creationId="{2C1360ED-6B66-4B9E-93D9-166BC49E4103}"/>
          </ac:spMkLst>
        </pc:spChg>
        <pc:spChg chg="add del mod modVis">
          <ac:chgData name="Shih, Bill" userId="5c4cd57f-46dc-4e26-b23c-ab4e3cb8751d" providerId="ADAL" clId="{CDEA5FCC-F6BB-42E9-9A28-80F3C2C2743A}" dt="2021-05-06T02:31:15.336" v="1684"/>
          <ac:spMkLst>
            <pc:docMk/>
            <pc:sldMk cId="2973465243" sldId="1881838841"/>
            <ac:spMk id="15" creationId="{6F5A137B-7A74-478E-971A-05E548578707}"/>
          </ac:spMkLst>
        </pc:spChg>
        <pc:spChg chg="add del mod modVis">
          <ac:chgData name="Shih, Bill" userId="5c4cd57f-46dc-4e26-b23c-ab4e3cb8751d" providerId="ADAL" clId="{CDEA5FCC-F6BB-42E9-9A28-80F3C2C2743A}" dt="2021-05-06T02:32:31.270" v="1897"/>
          <ac:spMkLst>
            <pc:docMk/>
            <pc:sldMk cId="2973465243" sldId="1881838841"/>
            <ac:spMk id="16" creationId="{D3CAA2F5-FE61-4280-8831-885E288A3167}"/>
          </ac:spMkLst>
        </pc:spChg>
        <pc:spChg chg="add del mod modVis">
          <ac:chgData name="Shih, Bill" userId="5c4cd57f-46dc-4e26-b23c-ab4e3cb8751d" providerId="ADAL" clId="{CDEA5FCC-F6BB-42E9-9A28-80F3C2C2743A}" dt="2021-05-06T02:32:32.714" v="1949"/>
          <ac:spMkLst>
            <pc:docMk/>
            <pc:sldMk cId="2973465243" sldId="1881838841"/>
            <ac:spMk id="17" creationId="{F580EF40-5976-4FEC-A015-ABD50043C07B}"/>
          </ac:spMkLst>
        </pc:spChg>
        <pc:spChg chg="add del mod modVis">
          <ac:chgData name="Shih, Bill" userId="5c4cd57f-46dc-4e26-b23c-ab4e3cb8751d" providerId="ADAL" clId="{CDEA5FCC-F6BB-42E9-9A28-80F3C2C2743A}" dt="2021-05-06T02:32:34.358" v="1996"/>
          <ac:spMkLst>
            <pc:docMk/>
            <pc:sldMk cId="2973465243" sldId="1881838841"/>
            <ac:spMk id="18" creationId="{BA696012-E63C-4304-A851-AC2FFCFFA2FC}"/>
          </ac:spMkLst>
        </pc:spChg>
        <pc:spChg chg="add del mod modVis">
          <ac:chgData name="Shih, Bill" userId="5c4cd57f-46dc-4e26-b23c-ab4e3cb8751d" providerId="ADAL" clId="{CDEA5FCC-F6BB-42E9-9A28-80F3C2C2743A}" dt="2021-05-06T02:32:35.563" v="2045"/>
          <ac:spMkLst>
            <pc:docMk/>
            <pc:sldMk cId="2973465243" sldId="1881838841"/>
            <ac:spMk id="19" creationId="{2B9E971B-2F1E-4B2E-8C73-5950C893E626}"/>
          </ac:spMkLst>
        </pc:spChg>
        <pc:spChg chg="add del mod modVis">
          <ac:chgData name="Shih, Bill" userId="5c4cd57f-46dc-4e26-b23c-ab4e3cb8751d" providerId="ADAL" clId="{CDEA5FCC-F6BB-42E9-9A28-80F3C2C2743A}" dt="2021-05-06T02:32:36.924" v="2096"/>
          <ac:spMkLst>
            <pc:docMk/>
            <pc:sldMk cId="2973465243" sldId="1881838841"/>
            <ac:spMk id="20" creationId="{6948AB36-6B6E-4580-814F-A3D4CFADEF84}"/>
          </ac:spMkLst>
        </pc:spChg>
        <pc:spChg chg="add del mod modVis">
          <ac:chgData name="Shih, Bill" userId="5c4cd57f-46dc-4e26-b23c-ab4e3cb8751d" providerId="ADAL" clId="{CDEA5FCC-F6BB-42E9-9A28-80F3C2C2743A}" dt="2021-05-06T02:32:38.472" v="2148"/>
          <ac:spMkLst>
            <pc:docMk/>
            <pc:sldMk cId="2973465243" sldId="1881838841"/>
            <ac:spMk id="21" creationId="{6826EB29-C5E1-45FD-987A-8D3C2FB8C181}"/>
          </ac:spMkLst>
        </pc:spChg>
        <pc:spChg chg="add del mod modVis">
          <ac:chgData name="Shih, Bill" userId="5c4cd57f-46dc-4e26-b23c-ab4e3cb8751d" providerId="ADAL" clId="{CDEA5FCC-F6BB-42E9-9A28-80F3C2C2743A}" dt="2021-05-06T02:32:39.748" v="2196"/>
          <ac:spMkLst>
            <pc:docMk/>
            <pc:sldMk cId="2973465243" sldId="1881838841"/>
            <ac:spMk id="22" creationId="{C8A119D9-501C-4CE7-A547-0E56644502A5}"/>
          </ac:spMkLst>
        </pc:spChg>
        <pc:spChg chg="add del mod modVis">
          <ac:chgData name="Shih, Bill" userId="5c4cd57f-46dc-4e26-b23c-ab4e3cb8751d" providerId="ADAL" clId="{CDEA5FCC-F6BB-42E9-9A28-80F3C2C2743A}" dt="2021-05-06T02:32:41.225" v="2249"/>
          <ac:spMkLst>
            <pc:docMk/>
            <pc:sldMk cId="2973465243" sldId="1881838841"/>
            <ac:spMk id="23" creationId="{6F7FC54B-6B7F-4182-9261-F9DC5C3B44F4}"/>
          </ac:spMkLst>
        </pc:spChg>
        <pc:spChg chg="add del mod modVis">
          <ac:chgData name="Shih, Bill" userId="5c4cd57f-46dc-4e26-b23c-ab4e3cb8751d" providerId="ADAL" clId="{CDEA5FCC-F6BB-42E9-9A28-80F3C2C2743A}" dt="2021-05-06T02:32:44.876" v="2303"/>
          <ac:spMkLst>
            <pc:docMk/>
            <pc:sldMk cId="2973465243" sldId="1881838841"/>
            <ac:spMk id="24" creationId="{EAD7477C-8D72-49D0-ABFE-769EDFCB297D}"/>
          </ac:spMkLst>
        </pc:spChg>
        <pc:spChg chg="add del mod modVis">
          <ac:chgData name="Shih, Bill" userId="5c4cd57f-46dc-4e26-b23c-ab4e3cb8751d" providerId="ADAL" clId="{CDEA5FCC-F6BB-42E9-9A28-80F3C2C2743A}" dt="2021-05-06T02:33:37.428" v="2347"/>
          <ac:spMkLst>
            <pc:docMk/>
            <pc:sldMk cId="2973465243" sldId="1881838841"/>
            <ac:spMk id="25" creationId="{BF996A46-D9D9-4440-88CD-83510398082B}"/>
          </ac:spMkLst>
        </pc:spChg>
        <pc:spChg chg="add del mod modVis">
          <ac:chgData name="Shih, Bill" userId="5c4cd57f-46dc-4e26-b23c-ab4e3cb8751d" providerId="ADAL" clId="{CDEA5FCC-F6BB-42E9-9A28-80F3C2C2743A}" dt="2021-05-06T02:33:38.437" v="2390"/>
          <ac:spMkLst>
            <pc:docMk/>
            <pc:sldMk cId="2973465243" sldId="1881838841"/>
            <ac:spMk id="26" creationId="{51185FC0-083F-45C1-9441-F4D79140F275}"/>
          </ac:spMkLst>
        </pc:spChg>
        <pc:spChg chg="add del mod modVis">
          <ac:chgData name="Shih, Bill" userId="5c4cd57f-46dc-4e26-b23c-ab4e3cb8751d" providerId="ADAL" clId="{CDEA5FCC-F6BB-42E9-9A28-80F3C2C2743A}" dt="2021-05-06T02:33:41.242" v="2450"/>
          <ac:spMkLst>
            <pc:docMk/>
            <pc:sldMk cId="2973465243" sldId="1881838841"/>
            <ac:spMk id="27" creationId="{07B05BED-07CC-43D6-B018-34FE07A0CAF2}"/>
          </ac:spMkLst>
        </pc:spChg>
        <pc:spChg chg="add del mod modVis">
          <ac:chgData name="Shih, Bill" userId="5c4cd57f-46dc-4e26-b23c-ab4e3cb8751d" providerId="ADAL" clId="{CDEA5FCC-F6BB-42E9-9A28-80F3C2C2743A}" dt="2021-05-06T02:33:42.997" v="2498"/>
          <ac:spMkLst>
            <pc:docMk/>
            <pc:sldMk cId="2973465243" sldId="1881838841"/>
            <ac:spMk id="28" creationId="{5E50948D-BFE2-408A-B05A-8FB033927CD9}"/>
          </ac:spMkLst>
        </pc:spChg>
        <pc:spChg chg="add del mod modVis">
          <ac:chgData name="Shih, Bill" userId="5c4cd57f-46dc-4e26-b23c-ab4e3cb8751d" providerId="ADAL" clId="{CDEA5FCC-F6BB-42E9-9A28-80F3C2C2743A}" dt="2021-05-06T02:33:44.510" v="2546"/>
          <ac:spMkLst>
            <pc:docMk/>
            <pc:sldMk cId="2973465243" sldId="1881838841"/>
            <ac:spMk id="29" creationId="{5D91CD49-28E8-4009-B4B1-97F94E550B16}"/>
          </ac:spMkLst>
        </pc:spChg>
        <pc:spChg chg="add del mod modVis">
          <ac:chgData name="Shih, Bill" userId="5c4cd57f-46dc-4e26-b23c-ab4e3cb8751d" providerId="ADAL" clId="{CDEA5FCC-F6BB-42E9-9A28-80F3C2C2743A}" dt="2021-05-06T02:33:46.580" v="2593"/>
          <ac:spMkLst>
            <pc:docMk/>
            <pc:sldMk cId="2973465243" sldId="1881838841"/>
            <ac:spMk id="30" creationId="{DA5CBB2F-FEF7-4A98-A2FF-432720664B5C}"/>
          </ac:spMkLst>
        </pc:spChg>
        <pc:spChg chg="add del mod modVis">
          <ac:chgData name="Shih, Bill" userId="5c4cd57f-46dc-4e26-b23c-ab4e3cb8751d" providerId="ADAL" clId="{CDEA5FCC-F6BB-42E9-9A28-80F3C2C2743A}" dt="2021-05-06T02:33:49.150" v="2654"/>
          <ac:spMkLst>
            <pc:docMk/>
            <pc:sldMk cId="2973465243" sldId="1881838841"/>
            <ac:spMk id="31" creationId="{C12730BC-D61E-4547-8E7E-31D5B0E61D44}"/>
          </ac:spMkLst>
        </pc:spChg>
        <pc:spChg chg="add del mod modVis">
          <ac:chgData name="Shih, Bill" userId="5c4cd57f-46dc-4e26-b23c-ab4e3cb8751d" providerId="ADAL" clId="{CDEA5FCC-F6BB-42E9-9A28-80F3C2C2743A}" dt="2021-05-06T02:33:56.610" v="2702"/>
          <ac:spMkLst>
            <pc:docMk/>
            <pc:sldMk cId="2973465243" sldId="1881838841"/>
            <ac:spMk id="32" creationId="{F7315976-319E-46A6-AB07-1832CC9D29A7}"/>
          </ac:spMkLst>
        </pc:spChg>
        <pc:spChg chg="add del mod modVis">
          <ac:chgData name="Shih, Bill" userId="5c4cd57f-46dc-4e26-b23c-ab4e3cb8751d" providerId="ADAL" clId="{CDEA5FCC-F6BB-42E9-9A28-80F3C2C2743A}" dt="2021-05-06T02:33:58.427" v="2757"/>
          <ac:spMkLst>
            <pc:docMk/>
            <pc:sldMk cId="2973465243" sldId="1881838841"/>
            <ac:spMk id="33" creationId="{0560F6A6-B43D-4FED-AED7-5C4BACF41EA1}"/>
          </ac:spMkLst>
        </pc:spChg>
        <pc:spChg chg="add del mod modVis">
          <ac:chgData name="Shih, Bill" userId="5c4cd57f-46dc-4e26-b23c-ab4e3cb8751d" providerId="ADAL" clId="{CDEA5FCC-F6BB-42E9-9A28-80F3C2C2743A}" dt="2021-05-06T02:34:04.738" v="2806"/>
          <ac:spMkLst>
            <pc:docMk/>
            <pc:sldMk cId="2973465243" sldId="1881838841"/>
            <ac:spMk id="34" creationId="{3EF74019-E7E0-481D-A172-514567CE4337}"/>
          </ac:spMkLst>
        </pc:spChg>
        <pc:spChg chg="add del mod modVis">
          <ac:chgData name="Shih, Bill" userId="5c4cd57f-46dc-4e26-b23c-ab4e3cb8751d" providerId="ADAL" clId="{CDEA5FCC-F6BB-42E9-9A28-80F3C2C2743A}" dt="2021-05-06T02:34:58.576" v="3735"/>
          <ac:spMkLst>
            <pc:docMk/>
            <pc:sldMk cId="2973465243" sldId="1881838841"/>
            <ac:spMk id="35" creationId="{D0E3DB44-5BD6-4788-A36F-7E696E3A637A}"/>
          </ac:spMkLst>
        </pc:spChg>
        <pc:spChg chg="add del mod modVis">
          <ac:chgData name="Shih, Bill" userId="5c4cd57f-46dc-4e26-b23c-ab4e3cb8751d" providerId="ADAL" clId="{CDEA5FCC-F6BB-42E9-9A28-80F3C2C2743A}" dt="2021-05-06T02:35:06.053" v="3788"/>
          <ac:spMkLst>
            <pc:docMk/>
            <pc:sldMk cId="2973465243" sldId="1881838841"/>
            <ac:spMk id="36" creationId="{C143AC9C-1A55-4B3F-BCEC-47FCB26F7EB2}"/>
          </ac:spMkLst>
        </pc:spChg>
        <pc:spChg chg="add del mod modVis">
          <ac:chgData name="Shih, Bill" userId="5c4cd57f-46dc-4e26-b23c-ab4e3cb8751d" providerId="ADAL" clId="{CDEA5FCC-F6BB-42E9-9A28-80F3C2C2743A}" dt="2021-05-06T02:35:07.162" v="3837"/>
          <ac:spMkLst>
            <pc:docMk/>
            <pc:sldMk cId="2973465243" sldId="1881838841"/>
            <ac:spMk id="37" creationId="{2FACFA88-7E04-47D1-880D-64ED9F90D9B1}"/>
          </ac:spMkLst>
        </pc:spChg>
        <pc:spChg chg="add del mod modVis">
          <ac:chgData name="Shih, Bill" userId="5c4cd57f-46dc-4e26-b23c-ab4e3cb8751d" providerId="ADAL" clId="{CDEA5FCC-F6BB-42E9-9A28-80F3C2C2743A}" dt="2021-05-06T02:37:17.173" v="3885"/>
          <ac:spMkLst>
            <pc:docMk/>
            <pc:sldMk cId="2973465243" sldId="1881838841"/>
            <ac:spMk id="38" creationId="{2CB167FC-90D5-4582-AEEB-56C4E7483BE1}"/>
          </ac:spMkLst>
        </pc:spChg>
        <pc:spChg chg="add del mod modVis">
          <ac:chgData name="Shih, Bill" userId="5c4cd57f-46dc-4e26-b23c-ab4e3cb8751d" providerId="ADAL" clId="{CDEA5FCC-F6BB-42E9-9A28-80F3C2C2743A}" dt="2021-05-06T02:37:24.910" v="3940"/>
          <ac:spMkLst>
            <pc:docMk/>
            <pc:sldMk cId="2973465243" sldId="1881838841"/>
            <ac:spMk id="39" creationId="{955199FA-AB41-4FB7-826E-EC96443ED7F8}"/>
          </ac:spMkLst>
        </pc:spChg>
        <pc:spChg chg="add del mod modVis">
          <ac:chgData name="Shih, Bill" userId="5c4cd57f-46dc-4e26-b23c-ab4e3cb8751d" providerId="ADAL" clId="{CDEA5FCC-F6BB-42E9-9A28-80F3C2C2743A}" dt="2021-05-06T02:37:25.424" v="3990"/>
          <ac:spMkLst>
            <pc:docMk/>
            <pc:sldMk cId="2973465243" sldId="1881838841"/>
            <ac:spMk id="40" creationId="{BECD1632-3A1C-4807-A0BD-CE63732AA9F2}"/>
          </ac:spMkLst>
        </pc:spChg>
        <pc:spChg chg="add del mod modVis">
          <ac:chgData name="Shih, Bill" userId="5c4cd57f-46dc-4e26-b23c-ab4e3cb8751d" providerId="ADAL" clId="{CDEA5FCC-F6BB-42E9-9A28-80F3C2C2743A}" dt="2021-05-06T02:37:26.250" v="4038"/>
          <ac:spMkLst>
            <pc:docMk/>
            <pc:sldMk cId="2973465243" sldId="1881838841"/>
            <ac:spMk id="41" creationId="{745F7487-3243-41B3-981F-BA989CDF2B61}"/>
          </ac:spMkLst>
        </pc:spChg>
        <pc:spChg chg="add del mod modVis">
          <ac:chgData name="Shih, Bill" userId="5c4cd57f-46dc-4e26-b23c-ab4e3cb8751d" providerId="ADAL" clId="{CDEA5FCC-F6BB-42E9-9A28-80F3C2C2743A}" dt="2021-05-06T02:37:26.942" v="4085"/>
          <ac:spMkLst>
            <pc:docMk/>
            <pc:sldMk cId="2973465243" sldId="1881838841"/>
            <ac:spMk id="42" creationId="{D746464F-EFBE-4B99-BDC5-B9E710E4CDB2}"/>
          </ac:spMkLst>
        </pc:spChg>
        <pc:spChg chg="add del mod modVis">
          <ac:chgData name="Shih, Bill" userId="5c4cd57f-46dc-4e26-b23c-ab4e3cb8751d" providerId="ADAL" clId="{CDEA5FCC-F6BB-42E9-9A28-80F3C2C2743A}" dt="2021-05-06T02:37:28.631" v="4134"/>
          <ac:spMkLst>
            <pc:docMk/>
            <pc:sldMk cId="2973465243" sldId="1881838841"/>
            <ac:spMk id="43" creationId="{62DF6B1A-FC2F-419E-9D7E-96A2E2BDEE31}"/>
          </ac:spMkLst>
        </pc:spChg>
        <pc:graphicFrameChg chg="mod">
          <ac:chgData name="Shih, Bill" userId="5c4cd57f-46dc-4e26-b23c-ab4e3cb8751d" providerId="ADAL" clId="{CDEA5FCC-F6BB-42E9-9A28-80F3C2C2743A}" dt="2021-05-06T02:37:28.635" v="4136"/>
          <ac:graphicFrameMkLst>
            <pc:docMk/>
            <pc:sldMk cId="2973465243" sldId="1881838841"/>
            <ac:graphicFrameMk id="5" creationId="{A5B41A88-FB9B-47C6-BB95-C1297162BFE9}"/>
          </ac:graphicFrameMkLst>
        </pc:graphicFrameChg>
      </pc:sldChg>
      <pc:sldChg chg="addSp delSp modSp add mod ord">
        <pc:chgData name="Shih, Bill" userId="5c4cd57f-46dc-4e26-b23c-ab4e3cb8751d" providerId="ADAL" clId="{CDEA5FCC-F6BB-42E9-9A28-80F3C2C2743A}" dt="2021-05-06T02:32:13.445" v="1842"/>
        <pc:sldMkLst>
          <pc:docMk/>
          <pc:sldMk cId="4003494720" sldId="1881838842"/>
        </pc:sldMkLst>
        <pc:spChg chg="mod">
          <ac:chgData name="Shih, Bill" userId="5c4cd57f-46dc-4e26-b23c-ab4e3cb8751d" providerId="ADAL" clId="{CDEA5FCC-F6BB-42E9-9A28-80F3C2C2743A}" dt="2021-05-06T02:32:07.368" v="1795" actId="948"/>
          <ac:spMkLst>
            <pc:docMk/>
            <pc:sldMk cId="4003494720" sldId="1881838842"/>
            <ac:spMk id="2" creationId="{DDB02969-ECBE-4B07-9C9B-A04A0FB33B84}"/>
          </ac:spMkLst>
        </pc:spChg>
        <pc:spChg chg="add del mod modVis">
          <ac:chgData name="Shih, Bill" userId="5c4cd57f-46dc-4e26-b23c-ab4e3cb8751d" providerId="ADAL" clId="{CDEA5FCC-F6BB-42E9-9A28-80F3C2C2743A}" dt="2021-05-06T02:32:02.379" v="1740"/>
          <ac:spMkLst>
            <pc:docMk/>
            <pc:sldMk cId="4003494720" sldId="1881838842"/>
            <ac:spMk id="6" creationId="{416C3C2C-854E-41F2-8148-77D89C893297}"/>
          </ac:spMkLst>
        </pc:spChg>
        <pc:spChg chg="add del mod modVis">
          <ac:chgData name="Shih, Bill" userId="5c4cd57f-46dc-4e26-b23c-ab4e3cb8751d" providerId="ADAL" clId="{CDEA5FCC-F6BB-42E9-9A28-80F3C2C2743A}" dt="2021-05-06T02:32:05.727" v="1789"/>
          <ac:spMkLst>
            <pc:docMk/>
            <pc:sldMk cId="4003494720" sldId="1881838842"/>
            <ac:spMk id="7" creationId="{17F47393-8CEA-428A-8F0B-8D368FE5878C}"/>
          </ac:spMkLst>
        </pc:spChg>
        <pc:spChg chg="add del mod modVis">
          <ac:chgData name="Shih, Bill" userId="5c4cd57f-46dc-4e26-b23c-ab4e3cb8751d" providerId="ADAL" clId="{CDEA5FCC-F6BB-42E9-9A28-80F3C2C2743A}" dt="2021-05-06T02:32:07.489" v="1838"/>
          <ac:spMkLst>
            <pc:docMk/>
            <pc:sldMk cId="4003494720" sldId="1881838842"/>
            <ac:spMk id="8" creationId="{61275174-F542-4A9C-B259-CC9B33AA4723}"/>
          </ac:spMkLst>
        </pc:spChg>
        <pc:graphicFrameChg chg="mod">
          <ac:chgData name="Shih, Bill" userId="5c4cd57f-46dc-4e26-b23c-ab4e3cb8751d" providerId="ADAL" clId="{CDEA5FCC-F6BB-42E9-9A28-80F3C2C2743A}" dt="2021-05-06T02:32:07.493" v="1840"/>
          <ac:graphicFrameMkLst>
            <pc:docMk/>
            <pc:sldMk cId="4003494720" sldId="1881838842"/>
            <ac:graphicFrameMk id="5" creationId="{A5B41A88-FB9B-47C6-BB95-C1297162BFE9}"/>
          </ac:graphicFrameMkLst>
        </pc:graphicFrameChg>
      </pc:sldChg>
      <pc:sldChg chg="addSp delSp modSp add mod">
        <pc:chgData name="Shih, Bill" userId="5c4cd57f-46dc-4e26-b23c-ab4e3cb8751d" providerId="ADAL" clId="{CDEA5FCC-F6BB-42E9-9A28-80F3C2C2743A}" dt="2021-05-06T02:34:50.426" v="3689"/>
        <pc:sldMkLst>
          <pc:docMk/>
          <pc:sldMk cId="3541338950" sldId="1881838843"/>
        </pc:sldMkLst>
        <pc:spChg chg="mod">
          <ac:chgData name="Shih, Bill" userId="5c4cd57f-46dc-4e26-b23c-ab4e3cb8751d" providerId="ADAL" clId="{CDEA5FCC-F6BB-42E9-9A28-80F3C2C2743A}" dt="2021-05-06T02:34:50.248" v="3644" actId="948"/>
          <ac:spMkLst>
            <pc:docMk/>
            <pc:sldMk cId="3541338950" sldId="1881838843"/>
            <ac:spMk id="2" creationId="{DDB02969-ECBE-4B07-9C9B-A04A0FB33B84}"/>
          </ac:spMkLst>
        </pc:spChg>
        <pc:spChg chg="add del mod modVis">
          <ac:chgData name="Shih, Bill" userId="5c4cd57f-46dc-4e26-b23c-ab4e3cb8751d" providerId="ADAL" clId="{CDEA5FCC-F6BB-42E9-9A28-80F3C2C2743A}" dt="2021-05-06T02:34:23.633" v="2861"/>
          <ac:spMkLst>
            <pc:docMk/>
            <pc:sldMk cId="3541338950" sldId="1881838843"/>
            <ac:spMk id="6" creationId="{09AAFA09-6C07-4E24-A1B0-B364EA698859}"/>
          </ac:spMkLst>
        </pc:spChg>
        <pc:spChg chg="add del mod modVis">
          <ac:chgData name="Shih, Bill" userId="5c4cd57f-46dc-4e26-b23c-ab4e3cb8751d" providerId="ADAL" clId="{CDEA5FCC-F6BB-42E9-9A28-80F3C2C2743A}" dt="2021-05-06T02:34:26.628" v="2916"/>
          <ac:spMkLst>
            <pc:docMk/>
            <pc:sldMk cId="3541338950" sldId="1881838843"/>
            <ac:spMk id="7" creationId="{FB4FE5B7-73EE-42AB-BF42-22CDD1B68264}"/>
          </ac:spMkLst>
        </pc:spChg>
        <pc:spChg chg="add del mod modVis">
          <ac:chgData name="Shih, Bill" userId="5c4cd57f-46dc-4e26-b23c-ab4e3cb8751d" providerId="ADAL" clId="{CDEA5FCC-F6BB-42E9-9A28-80F3C2C2743A}" dt="2021-05-06T02:34:27.694" v="2965"/>
          <ac:spMkLst>
            <pc:docMk/>
            <pc:sldMk cId="3541338950" sldId="1881838843"/>
            <ac:spMk id="8" creationId="{6F7D6363-6AFA-4EA9-8652-DBA789E7BAF5}"/>
          </ac:spMkLst>
        </pc:spChg>
        <pc:spChg chg="add del mod modVis">
          <ac:chgData name="Shih, Bill" userId="5c4cd57f-46dc-4e26-b23c-ab4e3cb8751d" providerId="ADAL" clId="{CDEA5FCC-F6BB-42E9-9A28-80F3C2C2743A}" dt="2021-05-06T02:34:28.412" v="3012"/>
          <ac:spMkLst>
            <pc:docMk/>
            <pc:sldMk cId="3541338950" sldId="1881838843"/>
            <ac:spMk id="9" creationId="{669DB26B-20C5-463B-ACA5-F2F53AFCE1B7}"/>
          </ac:spMkLst>
        </pc:spChg>
        <pc:spChg chg="add del mod modVis">
          <ac:chgData name="Shih, Bill" userId="5c4cd57f-46dc-4e26-b23c-ab4e3cb8751d" providerId="ADAL" clId="{CDEA5FCC-F6BB-42E9-9A28-80F3C2C2743A}" dt="2021-05-06T02:34:32.919" v="3084"/>
          <ac:spMkLst>
            <pc:docMk/>
            <pc:sldMk cId="3541338950" sldId="1881838843"/>
            <ac:spMk id="10" creationId="{16391879-4320-40D9-B495-EF6C46D304C4}"/>
          </ac:spMkLst>
        </pc:spChg>
        <pc:spChg chg="add del mod modVis">
          <ac:chgData name="Shih, Bill" userId="5c4cd57f-46dc-4e26-b23c-ab4e3cb8751d" providerId="ADAL" clId="{CDEA5FCC-F6BB-42E9-9A28-80F3C2C2743A}" dt="2021-05-06T02:34:34.613" v="3141"/>
          <ac:spMkLst>
            <pc:docMk/>
            <pc:sldMk cId="3541338950" sldId="1881838843"/>
            <ac:spMk id="11" creationId="{8F93CCE5-F044-4DB9-B476-CE0DCF948D12}"/>
          </ac:spMkLst>
        </pc:spChg>
        <pc:spChg chg="add del mod modVis">
          <ac:chgData name="Shih, Bill" userId="5c4cd57f-46dc-4e26-b23c-ab4e3cb8751d" providerId="ADAL" clId="{CDEA5FCC-F6BB-42E9-9A28-80F3C2C2743A}" dt="2021-05-06T02:34:35.249" v="3188"/>
          <ac:spMkLst>
            <pc:docMk/>
            <pc:sldMk cId="3541338950" sldId="1881838843"/>
            <ac:spMk id="12" creationId="{548A86FC-8698-4B71-98BD-793EE88CA53F}"/>
          </ac:spMkLst>
        </pc:spChg>
        <pc:spChg chg="add del mod modVis">
          <ac:chgData name="Shih, Bill" userId="5c4cd57f-46dc-4e26-b23c-ab4e3cb8751d" providerId="ADAL" clId="{CDEA5FCC-F6BB-42E9-9A28-80F3C2C2743A}" dt="2021-05-06T02:34:37.253" v="3238"/>
          <ac:spMkLst>
            <pc:docMk/>
            <pc:sldMk cId="3541338950" sldId="1881838843"/>
            <ac:spMk id="13" creationId="{2E343BB8-BC98-4139-BFDB-48E2C85355E0}"/>
          </ac:spMkLst>
        </pc:spChg>
        <pc:spChg chg="add del mod modVis">
          <ac:chgData name="Shih, Bill" userId="5c4cd57f-46dc-4e26-b23c-ab4e3cb8751d" providerId="ADAL" clId="{CDEA5FCC-F6BB-42E9-9A28-80F3C2C2743A}" dt="2021-05-06T02:34:37.594" v="3287"/>
          <ac:spMkLst>
            <pc:docMk/>
            <pc:sldMk cId="3541338950" sldId="1881838843"/>
            <ac:spMk id="14" creationId="{00C3BC13-19D1-4843-83AB-258E0DB45C31}"/>
          </ac:spMkLst>
        </pc:spChg>
        <pc:spChg chg="add del mod modVis">
          <ac:chgData name="Shih, Bill" userId="5c4cd57f-46dc-4e26-b23c-ab4e3cb8751d" providerId="ADAL" clId="{CDEA5FCC-F6BB-42E9-9A28-80F3C2C2743A}" dt="2021-05-06T02:34:38.687" v="3336"/>
          <ac:spMkLst>
            <pc:docMk/>
            <pc:sldMk cId="3541338950" sldId="1881838843"/>
            <ac:spMk id="15" creationId="{2A30D418-6FF0-40E3-AAC0-62C41221B302}"/>
          </ac:spMkLst>
        </pc:spChg>
        <pc:spChg chg="add del mod modVis">
          <ac:chgData name="Shih, Bill" userId="5c4cd57f-46dc-4e26-b23c-ab4e3cb8751d" providerId="ADAL" clId="{CDEA5FCC-F6BB-42E9-9A28-80F3C2C2743A}" dt="2021-05-06T02:34:40.096" v="3383"/>
          <ac:spMkLst>
            <pc:docMk/>
            <pc:sldMk cId="3541338950" sldId="1881838843"/>
            <ac:spMk id="16" creationId="{63EB4E48-B081-4592-896C-F5CD4C13AA2A}"/>
          </ac:spMkLst>
        </pc:spChg>
        <pc:spChg chg="add del mod modVis">
          <ac:chgData name="Shih, Bill" userId="5c4cd57f-46dc-4e26-b23c-ab4e3cb8751d" providerId="ADAL" clId="{CDEA5FCC-F6BB-42E9-9A28-80F3C2C2743A}" dt="2021-05-06T02:34:41.795" v="3431"/>
          <ac:spMkLst>
            <pc:docMk/>
            <pc:sldMk cId="3541338950" sldId="1881838843"/>
            <ac:spMk id="17" creationId="{AD51CB41-AACF-47C9-B579-38DBC4EFE9F7}"/>
          </ac:spMkLst>
        </pc:spChg>
        <pc:spChg chg="add del mod modVis">
          <ac:chgData name="Shih, Bill" userId="5c4cd57f-46dc-4e26-b23c-ab4e3cb8751d" providerId="ADAL" clId="{CDEA5FCC-F6BB-42E9-9A28-80F3C2C2743A}" dt="2021-05-06T02:34:44.617" v="3480"/>
          <ac:spMkLst>
            <pc:docMk/>
            <pc:sldMk cId="3541338950" sldId="1881838843"/>
            <ac:spMk id="18" creationId="{97000F4A-17B1-4A9A-BDCF-6AAFB2B422B8}"/>
          </ac:spMkLst>
        </pc:spChg>
        <pc:spChg chg="add del mod modVis">
          <ac:chgData name="Shih, Bill" userId="5c4cd57f-46dc-4e26-b23c-ab4e3cb8751d" providerId="ADAL" clId="{CDEA5FCC-F6BB-42E9-9A28-80F3C2C2743A}" dt="2021-05-06T02:34:45.539" v="3530"/>
          <ac:spMkLst>
            <pc:docMk/>
            <pc:sldMk cId="3541338950" sldId="1881838843"/>
            <ac:spMk id="19" creationId="{10684897-95D7-4880-B3C2-ADD909A0DDC9}"/>
          </ac:spMkLst>
        </pc:spChg>
        <pc:spChg chg="add del mod modVis">
          <ac:chgData name="Shih, Bill" userId="5c4cd57f-46dc-4e26-b23c-ab4e3cb8751d" providerId="ADAL" clId="{CDEA5FCC-F6BB-42E9-9A28-80F3C2C2743A}" dt="2021-05-06T02:34:46.653" v="3578"/>
          <ac:spMkLst>
            <pc:docMk/>
            <pc:sldMk cId="3541338950" sldId="1881838843"/>
            <ac:spMk id="20" creationId="{1EB07155-C71D-49DB-B6D9-03744917F2D6}"/>
          </ac:spMkLst>
        </pc:spChg>
        <pc:spChg chg="add del mod modVis">
          <ac:chgData name="Shih, Bill" userId="5c4cd57f-46dc-4e26-b23c-ab4e3cb8751d" providerId="ADAL" clId="{CDEA5FCC-F6BB-42E9-9A28-80F3C2C2743A}" dt="2021-05-06T02:34:47.652" v="3629"/>
          <ac:spMkLst>
            <pc:docMk/>
            <pc:sldMk cId="3541338950" sldId="1881838843"/>
            <ac:spMk id="21" creationId="{F3CA3638-8FAA-40FE-8EC1-8CF7382885D8}"/>
          </ac:spMkLst>
        </pc:spChg>
        <pc:spChg chg="add del mod modVis">
          <ac:chgData name="Shih, Bill" userId="5c4cd57f-46dc-4e26-b23c-ab4e3cb8751d" providerId="ADAL" clId="{CDEA5FCC-F6BB-42E9-9A28-80F3C2C2743A}" dt="2021-05-06T02:34:50.419" v="3687"/>
          <ac:spMkLst>
            <pc:docMk/>
            <pc:sldMk cId="3541338950" sldId="1881838843"/>
            <ac:spMk id="22" creationId="{5F1E62D5-BFAB-423A-9D77-64BF0157246A}"/>
          </ac:spMkLst>
        </pc:spChg>
        <pc:graphicFrameChg chg="mod">
          <ac:chgData name="Shih, Bill" userId="5c4cd57f-46dc-4e26-b23c-ab4e3cb8751d" providerId="ADAL" clId="{CDEA5FCC-F6BB-42E9-9A28-80F3C2C2743A}" dt="2021-05-06T02:34:50.426" v="3689"/>
          <ac:graphicFrameMkLst>
            <pc:docMk/>
            <pc:sldMk cId="3541338950" sldId="1881838843"/>
            <ac:graphicFrameMk id="5" creationId="{A5B41A88-FB9B-47C6-BB95-C1297162BFE9}"/>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505" y="0"/>
            <a:ext cx="2890626" cy="493792"/>
          </a:xfrm>
          <a:prstGeom prst="rect">
            <a:avLst/>
          </a:prstGeom>
        </p:spPr>
        <p:txBody>
          <a:bodyPr vert="horz" lIns="91440" tIns="45720" rIns="91440" bIns="45720" rtlCol="0"/>
          <a:lstStyle>
            <a:lvl1pPr algn="r">
              <a:defRPr sz="1200"/>
            </a:lvl1pPr>
          </a:lstStyle>
          <a:p>
            <a:fld id="{3BBED7E8-0829-F34C-B479-A757805E6C1B}" type="datetimeFigureOut">
              <a:rPr lang="en-US" smtClean="0"/>
              <a:pPr/>
              <a:t>5/6/2021</a:t>
            </a:fld>
            <a:endParaRPr lang="en-US"/>
          </a:p>
        </p:txBody>
      </p:sp>
      <p:sp>
        <p:nvSpPr>
          <p:cNvPr id="4" name="Footer Placeholder 3"/>
          <p:cNvSpPr>
            <a:spLocks noGrp="1"/>
          </p:cNvSpPr>
          <p:nvPr>
            <p:ph type="ftr" sz="quarter" idx="2"/>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505" y="9380332"/>
            <a:ext cx="2890626" cy="493792"/>
          </a:xfrm>
          <a:prstGeom prst="rect">
            <a:avLst/>
          </a:prstGeom>
        </p:spPr>
        <p:txBody>
          <a:bodyPr vert="horz" lIns="91440" tIns="45720" rIns="91440" bIns="45720" rtlCol="0" anchor="b"/>
          <a:lstStyle>
            <a:lvl1pPr algn="r">
              <a:defRPr sz="1200"/>
            </a:lvl1pPr>
          </a:lstStyle>
          <a:p>
            <a:fld id="{053334D3-7666-C24C-995B-669B029DDF20}" type="slidenum">
              <a:rPr lang="en-US" smtClean="0"/>
              <a:pPr/>
              <a:t>‹#›</a:t>
            </a:fld>
            <a:endParaRPr lang="en-US"/>
          </a:p>
        </p:txBody>
      </p:sp>
    </p:spTree>
    <p:extLst>
      <p:ext uri="{BB962C8B-B14F-4D97-AF65-F5344CB8AC3E}">
        <p14:creationId xmlns:p14="http://schemas.microsoft.com/office/powerpoint/2010/main" val="246531476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8505" y="0"/>
            <a:ext cx="2890626" cy="493792"/>
          </a:xfrm>
          <a:prstGeom prst="rect">
            <a:avLst/>
          </a:prstGeom>
        </p:spPr>
        <p:txBody>
          <a:bodyPr vert="horz" lIns="91440" tIns="45720" rIns="91440" bIns="45720" rtlCol="0"/>
          <a:lstStyle>
            <a:lvl1pPr algn="r">
              <a:defRPr sz="1200"/>
            </a:lvl1pPr>
          </a:lstStyle>
          <a:p>
            <a:fld id="{6C7E4F11-7667-5045-A00B-01970EA44BB5}" type="datetimeFigureOut">
              <a:rPr lang="en-US" smtClean="0"/>
              <a:pPr/>
              <a:t>5/6/2021</a:t>
            </a:fld>
            <a:endParaRPr lang="en-US"/>
          </a:p>
        </p:txBody>
      </p:sp>
      <p:sp>
        <p:nvSpPr>
          <p:cNvPr id="4" name="Slide Image Placeholder 3"/>
          <p:cNvSpPr>
            <a:spLocks noGrp="1" noRot="1" noChangeAspect="1"/>
          </p:cNvSpPr>
          <p:nvPr>
            <p:ph type="sldImg" idx="2"/>
          </p:nvPr>
        </p:nvSpPr>
        <p:spPr>
          <a:xfrm>
            <a:off x="46038" y="741363"/>
            <a:ext cx="65786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7068" y="4691023"/>
            <a:ext cx="5336540" cy="444412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8505" y="9380332"/>
            <a:ext cx="2890626" cy="493792"/>
          </a:xfrm>
          <a:prstGeom prst="rect">
            <a:avLst/>
          </a:prstGeom>
        </p:spPr>
        <p:txBody>
          <a:bodyPr vert="horz" lIns="91440" tIns="45720" rIns="91440" bIns="45720" rtlCol="0" anchor="b"/>
          <a:lstStyle>
            <a:lvl1pPr algn="r">
              <a:defRPr sz="1200"/>
            </a:lvl1pPr>
          </a:lstStyle>
          <a:p>
            <a:fld id="{FAD751AE-7ABC-314D-AFAD-47B860ED6FFE}" type="slidenum">
              <a:rPr lang="en-US" smtClean="0"/>
              <a:pPr/>
              <a:t>‹#›</a:t>
            </a:fld>
            <a:endParaRPr lang="en-US"/>
          </a:p>
        </p:txBody>
      </p:sp>
    </p:spTree>
    <p:extLst>
      <p:ext uri="{BB962C8B-B14F-4D97-AF65-F5344CB8AC3E}">
        <p14:creationId xmlns:p14="http://schemas.microsoft.com/office/powerpoint/2010/main" val="156244540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6.tif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5.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6.tif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25.emf"/><Relationship Id="rId5" Type="http://schemas.openxmlformats.org/officeDocument/2006/relationships/oleObject" Target="../embeddings/oleObject7.bin"/><Relationship Id="rId4"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467974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ross-Section of Cell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9" name="Picture Placeholder 7" descr="AZ1466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52811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abete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2" name="Picture 1" descr="Diabetes.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6050" y="2876550"/>
            <a:ext cx="8856000" cy="2127250"/>
          </a:xfrm>
          <a:prstGeom prst="rect">
            <a:avLst/>
          </a:prstGeom>
        </p:spPr>
      </p:pic>
    </p:spTree>
    <p:extLst>
      <p:ext uri="{BB962C8B-B14F-4D97-AF65-F5344CB8AC3E}">
        <p14:creationId xmlns:p14="http://schemas.microsoft.com/office/powerpoint/2010/main" val="1264137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RIA TLR9">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10" name="Picture 9" descr="TLR9_Endosome_and_Receptor_RGB LR.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0" y="2878137"/>
            <a:ext cx="8856000" cy="2125663"/>
          </a:xfrm>
          <a:prstGeom prst="rect">
            <a:avLst/>
          </a:prstGeom>
        </p:spPr>
      </p:pic>
    </p:spTree>
    <p:extLst>
      <p:ext uri="{BB962C8B-B14F-4D97-AF65-F5344CB8AC3E}">
        <p14:creationId xmlns:p14="http://schemas.microsoft.com/office/powerpoint/2010/main" val="27922996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lide Title Only">
    <p:spTree>
      <p:nvGrpSpPr>
        <p:cNvPr id="1" name=""/>
        <p:cNvGrpSpPr/>
        <p:nvPr/>
      </p:nvGrpSpPr>
      <p:grpSpPr>
        <a:xfrm>
          <a:off x="0" y="0"/>
          <a:ext cx="0" cy="0"/>
          <a:chOff x="0" y="0"/>
          <a:chExt cx="0" cy="0"/>
        </a:xfrm>
      </p:grpSpPr>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8"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590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3" name="Text Placeholder 29"/>
          <p:cNvSpPr>
            <a:spLocks noGrp="1"/>
          </p:cNvSpPr>
          <p:nvPr>
            <p:ph type="body" sz="quarter" idx="12" hasCustomPrompt="1"/>
          </p:nvPr>
        </p:nvSpPr>
        <p:spPr>
          <a:xfrm>
            <a:off x="215999" y="46653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6" name="Text Placeholder 29"/>
          <p:cNvSpPr>
            <a:spLocks noGrp="1"/>
          </p:cNvSpPr>
          <p:nvPr>
            <p:ph type="body" sz="quarter" idx="15" hasCustomPrompt="1"/>
          </p:nvPr>
        </p:nvSpPr>
        <p:spPr>
          <a:xfrm>
            <a:off x="7128000" y="44590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7" name="Text Placeholder 29"/>
          <p:cNvSpPr>
            <a:spLocks noGrp="1"/>
          </p:cNvSpPr>
          <p:nvPr>
            <p:ph type="body" sz="quarter" idx="13" hasCustomPrompt="1"/>
          </p:nvPr>
        </p:nvSpPr>
        <p:spPr>
          <a:xfrm>
            <a:off x="7128000" y="46653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6253630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7" name="Picture 6" descr="Eosinophil_NK_Cell_10K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Tree>
    <p:extLst>
      <p:ext uri="{BB962C8B-B14F-4D97-AF65-F5344CB8AC3E}">
        <p14:creationId xmlns:p14="http://schemas.microsoft.com/office/powerpoint/2010/main" val="1048682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ncology">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page_04_AST109_TCell_Cancer_Cell_Lipid_Layer_10K_01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Tree>
    <p:extLst>
      <p:ext uri="{BB962C8B-B14F-4D97-AF65-F5344CB8AC3E}">
        <p14:creationId xmlns:p14="http://schemas.microsoft.com/office/powerpoint/2010/main" val="3350059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VMD">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CR_Science image_f1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2821" y="2876550"/>
            <a:ext cx="8850368" cy="2125664"/>
          </a:xfrm>
          <a:prstGeom prst="rect">
            <a:avLst/>
          </a:prstGeom>
        </p:spPr>
      </p:pic>
    </p:spTree>
    <p:extLst>
      <p:ext uri="{BB962C8B-B14F-4D97-AF65-F5344CB8AC3E}">
        <p14:creationId xmlns:p14="http://schemas.microsoft.com/office/powerpoint/2010/main" val="1977425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tDNA">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DNA_Inside_Blood_Vessel_10K_AD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Tree>
    <p:extLst>
      <p:ext uri="{BB962C8B-B14F-4D97-AF65-F5344CB8AC3E}">
        <p14:creationId xmlns:p14="http://schemas.microsoft.com/office/powerpoint/2010/main" val="38735027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scovery Sciences">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CRISPR_technology_for_genome_editing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Tree>
    <p:extLst>
      <p:ext uri="{BB962C8B-B14F-4D97-AF65-F5344CB8AC3E}">
        <p14:creationId xmlns:p14="http://schemas.microsoft.com/office/powerpoint/2010/main" val="17705424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euro">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13" descr="AZ1383_screen rotate.jp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44001" y="2875468"/>
            <a:ext cx="8855075" cy="2133000"/>
          </a:xfrm>
          <a:prstGeom prst="rect">
            <a:avLst/>
          </a:prstGeom>
        </p:spPr>
      </p:pic>
    </p:spTree>
    <p:extLst>
      <p:ext uri="{BB962C8B-B14F-4D97-AF65-F5344CB8AC3E}">
        <p14:creationId xmlns:p14="http://schemas.microsoft.com/office/powerpoint/2010/main" val="1857166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2977861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nfection">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3082" cy="2128214"/>
          </a:xfrm>
          <a:prstGeom prst="rect">
            <a:avLst/>
          </a:prstGeom>
        </p:spPr>
      </p:pic>
    </p:spTree>
    <p:extLst>
      <p:ext uri="{BB962C8B-B14F-4D97-AF65-F5344CB8AC3E}">
        <p14:creationId xmlns:p14="http://schemas.microsoft.com/office/powerpoint/2010/main" val="36526798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UK Scientist">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4" name="Picture Placeholder 23" descr="AZ1388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14343643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cientist Examining Placenta">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3" descr="AZ1428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32992402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ross-Section of Cells">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7" descr="AZ1466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182007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abetes">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4" name="Picture 3" descr="Diabetes.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6050" y="2876550"/>
            <a:ext cx="8856000" cy="2127250"/>
          </a:xfrm>
          <a:prstGeom prst="rect">
            <a:avLst/>
          </a:prstGeom>
        </p:spPr>
      </p:pic>
    </p:spTree>
    <p:extLst>
      <p:ext uri="{BB962C8B-B14F-4D97-AF65-F5344CB8AC3E}">
        <p14:creationId xmlns:p14="http://schemas.microsoft.com/office/powerpoint/2010/main" val="2150167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RIA TLR9">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TLR9_Endosome_and_Receptor_RGB LR.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8137"/>
            <a:ext cx="8856000" cy="2125663"/>
          </a:xfrm>
          <a:prstGeom prst="rect">
            <a:avLst/>
          </a:prstGeom>
        </p:spPr>
      </p:pic>
    </p:spTree>
    <p:extLst>
      <p:ext uri="{BB962C8B-B14F-4D97-AF65-F5344CB8AC3E}">
        <p14:creationId xmlns:p14="http://schemas.microsoft.com/office/powerpoint/2010/main" val="20347771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ientist in Lab 1">
    <p:spTree>
      <p:nvGrpSpPr>
        <p:cNvPr id="1" name=""/>
        <p:cNvGrpSpPr/>
        <p:nvPr/>
      </p:nvGrpSpPr>
      <p:grpSpPr>
        <a:xfrm>
          <a:off x="0" y="0"/>
          <a:ext cx="0" cy="0"/>
          <a:chOff x="0" y="0"/>
          <a:chExt cx="0" cy="0"/>
        </a:xfrm>
      </p:grpSpPr>
      <p:pic>
        <p:nvPicPr>
          <p:cNvPr id="5" name="Picture Placeholder 13" descr="AZ1486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1387859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cientist in Lab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Deepal_P_Shot_2-024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8544" y="2876550"/>
            <a:ext cx="8856000" cy="2133600"/>
          </a:xfrm>
          <a:prstGeom prst="rect">
            <a:avLst/>
          </a:prstGeom>
        </p:spPr>
      </p:pic>
    </p:spTree>
    <p:extLst>
      <p:ext uri="{BB962C8B-B14F-4D97-AF65-F5344CB8AC3E}">
        <p14:creationId xmlns:p14="http://schemas.microsoft.com/office/powerpoint/2010/main" val="33317524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cientist in Lab 3">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Drew_M-057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1"/>
            <a:ext cx="8856662" cy="2133600"/>
          </a:xfrm>
          <a:prstGeom prst="rect">
            <a:avLst/>
          </a:prstGeom>
        </p:spPr>
      </p:pic>
    </p:spTree>
    <p:extLst>
      <p:ext uri="{BB962C8B-B14F-4D97-AF65-F5344CB8AC3E}">
        <p14:creationId xmlns:p14="http://schemas.microsoft.com/office/powerpoint/2010/main" val="25243103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quipment 1">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Shot_1-060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49"/>
            <a:ext cx="8856000" cy="2133601"/>
          </a:xfrm>
          <a:prstGeom prst="rect">
            <a:avLst/>
          </a:prstGeom>
        </p:spPr>
      </p:pic>
    </p:spTree>
    <p:extLst>
      <p:ext uri="{BB962C8B-B14F-4D97-AF65-F5344CB8AC3E}">
        <p14:creationId xmlns:p14="http://schemas.microsoft.com/office/powerpoint/2010/main" val="581016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VMD">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CR_Science image_f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2821" y="2876550"/>
            <a:ext cx="8850368"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4124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quipment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Shot_3-037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662" cy="2133600"/>
          </a:xfrm>
          <a:prstGeom prst="rect">
            <a:avLst/>
          </a:prstGeom>
        </p:spPr>
      </p:pic>
    </p:spTree>
    <p:extLst>
      <p:ext uri="{BB962C8B-B14F-4D97-AF65-F5344CB8AC3E}">
        <p14:creationId xmlns:p14="http://schemas.microsoft.com/office/powerpoint/2010/main" val="28227254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atient 1">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2" name="Picture 1" descr="Meryl_G-154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3538" y="2876551"/>
            <a:ext cx="8856000" cy="2133600"/>
          </a:xfrm>
          <a:prstGeom prst="rect">
            <a:avLst/>
          </a:prstGeom>
        </p:spPr>
      </p:pic>
    </p:spTree>
    <p:extLst>
      <p:ext uri="{BB962C8B-B14F-4D97-AF65-F5344CB8AC3E}">
        <p14:creationId xmlns:p14="http://schemas.microsoft.com/office/powerpoint/2010/main" val="21452153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atient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Liam_S-137_Ret_EDI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7638" y="2876549"/>
            <a:ext cx="8856000" cy="2133601"/>
          </a:xfrm>
          <a:prstGeom prst="rect">
            <a:avLst/>
          </a:prstGeom>
        </p:spPr>
      </p:pic>
    </p:spTree>
    <p:extLst>
      <p:ext uri="{BB962C8B-B14F-4D97-AF65-F5344CB8AC3E}">
        <p14:creationId xmlns:p14="http://schemas.microsoft.com/office/powerpoint/2010/main" val="31568106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atient 3">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Jasmine_A-141_Ret_EDI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7638" y="2876549"/>
            <a:ext cx="8864600" cy="2133601"/>
          </a:xfrm>
          <a:prstGeom prst="rect">
            <a:avLst/>
          </a:prstGeom>
        </p:spPr>
      </p:pic>
    </p:spTree>
    <p:extLst>
      <p:ext uri="{BB962C8B-B14F-4D97-AF65-F5344CB8AC3E}">
        <p14:creationId xmlns:p14="http://schemas.microsoft.com/office/powerpoint/2010/main" val="29380167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42348151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Slide Navy">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0872682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35394026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3080467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Graphite">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2011376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108513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tDN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DNA_Inside_Blood_Vessel_10K_AD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767009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en-GB" sz="18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398423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1323380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539051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078618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357508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1759794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8"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7"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25651784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0833829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9816710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022274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scovery Sciences">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CRISPR_technology_for_genome_editing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3196244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599162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2227695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35451936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6278668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0058625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6241074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8646515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2378332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6253021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476138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euro">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10" name="Picture Placeholder 13" descr="AZ1383_screen rotate.jp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0688526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6428413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8347558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0693860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500" indent="-135000">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41940719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1422112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14438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7553559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Bullet Content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F3C702-19D1-4ED2-9F12-AD9B69839C34}"/>
              </a:ext>
            </a:extLst>
          </p:cNvPr>
          <p:cNvSpPr/>
          <p:nvPr userDrawn="1"/>
        </p:nvSpPr>
        <p:spPr>
          <a:xfrm>
            <a:off x="0" y="663"/>
            <a:ext cx="9144000" cy="430673"/>
          </a:xfrm>
          <a:prstGeom prst="rect">
            <a:avLst/>
          </a:prstGeom>
          <a:solidFill>
            <a:srgbClr val="5B305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aphicFrame>
        <p:nvGraphicFramePr>
          <p:cNvPr id="2" name="Object 1" hidden="1">
            <a:extLst>
              <a:ext uri="{FF2B5EF4-FFF2-40B4-BE49-F238E27FC236}">
                <a16:creationId xmlns:a16="http://schemas.microsoft.com/office/drawing/2014/main" id="{6F22D2E5-2396-4FBA-ACF0-DA8A230258CD}"/>
              </a:ext>
            </a:extLst>
          </p:cNvPr>
          <p:cNvGraphicFramePr>
            <a:graphicFrameLocks noChangeAspect="1"/>
          </p:cNvGraphicFramePr>
          <p:nvPr userDrawn="1">
            <p:custDataLst>
              <p:tags r:id="rId3"/>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122"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6F22D2E5-2396-4FBA-ACF0-DA8A230258CD}"/>
                          </a:ext>
                        </a:extLst>
                      </p:cNvPr>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7" name="Slide Number Placeholder 2">
            <a:extLst>
              <a:ext uri="{FF2B5EF4-FFF2-40B4-BE49-F238E27FC236}">
                <a16:creationId xmlns:a16="http://schemas.microsoft.com/office/drawing/2014/main" id="{7006255A-253B-4746-A87D-66CBF599D3FA}"/>
              </a:ext>
            </a:extLst>
          </p:cNvPr>
          <p:cNvSpPr>
            <a:spLocks noGrp="1"/>
          </p:cNvSpPr>
          <p:nvPr>
            <p:ph type="sldNum" sz="quarter" idx="4"/>
          </p:nvPr>
        </p:nvSpPr>
        <p:spPr>
          <a:xfrm>
            <a:off x="316800" y="4848249"/>
            <a:ext cx="396000" cy="162000"/>
          </a:xfrm>
        </p:spPr>
        <p:txBody>
          <a:bodyPr lIns="0" tIns="0" rIns="0" bIns="0"/>
          <a:lstStyle>
            <a:lvl1pPr algn="l">
              <a:defRPr sz="800"/>
            </a:lvl1pPr>
          </a:lstStyle>
          <a:p>
            <a:fld id="{3C4F54F3-C349-4609-AFEE-01462D5C7942}" type="slidenum">
              <a:rPr lang="en-GB" smtClean="0"/>
              <a:pPr/>
              <a:t>‹#›</a:t>
            </a:fld>
            <a:endParaRPr lang="en-GB" dirty="0"/>
          </a:p>
        </p:txBody>
      </p:sp>
      <p:sp>
        <p:nvSpPr>
          <p:cNvPr id="5" name="Title 8"/>
          <p:cNvSpPr>
            <a:spLocks noGrp="1"/>
          </p:cNvSpPr>
          <p:nvPr>
            <p:ph type="title" hasCustomPrompt="1"/>
          </p:nvPr>
        </p:nvSpPr>
        <p:spPr>
          <a:xfrm>
            <a:off x="237600" y="61200"/>
            <a:ext cx="8765651" cy="309600"/>
          </a:xfrm>
          <a:prstGeom prst="rect">
            <a:avLst/>
          </a:prstGeom>
        </p:spPr>
        <p:txBody>
          <a:bodyPr vert="horz" anchor="ctr"/>
          <a:lstStyle>
            <a:lvl1pPr algn="l">
              <a:lnSpc>
                <a:spcPct val="100000"/>
              </a:lnSpc>
              <a:defRPr sz="2400" b="0" baseline="0">
                <a:solidFill>
                  <a:schemeClr val="bg1"/>
                </a:solidFill>
                <a:latin typeface="Arial" pitchFamily="34" charset="0"/>
                <a:cs typeface="Arial" pitchFamily="34" charset="0"/>
              </a:defRPr>
            </a:lvl1pPr>
          </a:lstStyle>
          <a:p>
            <a:r>
              <a:rPr lang="en-GB" noProof="0"/>
              <a:t>Click to add title</a:t>
            </a:r>
          </a:p>
        </p:txBody>
      </p:sp>
      <p:pic>
        <p:nvPicPr>
          <p:cNvPr id="8" name="Picture 7">
            <a:extLst>
              <a:ext uri="{FF2B5EF4-FFF2-40B4-BE49-F238E27FC236}">
                <a16:creationId xmlns:a16="http://schemas.microsoft.com/office/drawing/2014/main" id="{55C3319E-D3D4-42A9-833F-BDC4F94DE747}"/>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a:off x="6946253" y="4606837"/>
            <a:ext cx="1386647" cy="292075"/>
          </a:xfrm>
          <a:prstGeom prst="rect">
            <a:avLst/>
          </a:prstGeom>
        </p:spPr>
      </p:pic>
      <p:sp>
        <p:nvSpPr>
          <p:cNvPr id="4" name="Rectangle 3">
            <a:extLst>
              <a:ext uri="{FF2B5EF4-FFF2-40B4-BE49-F238E27FC236}">
                <a16:creationId xmlns:a16="http://schemas.microsoft.com/office/drawing/2014/main" id="{193CA105-320C-4081-9626-EB986272AF54}"/>
              </a:ext>
            </a:extLst>
          </p:cNvPr>
          <p:cNvSpPr/>
          <p:nvPr userDrawn="1"/>
        </p:nvSpPr>
        <p:spPr>
          <a:xfrm>
            <a:off x="0" y="4981500"/>
            <a:ext cx="9144000" cy="162000"/>
          </a:xfrm>
          <a:prstGeom prst="rect">
            <a:avLst/>
          </a:prstGeom>
          <a:solidFill>
            <a:srgbClr val="CED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A5D74F8F-565F-4668-A815-F3A5418A9A6D}"/>
              </a:ext>
            </a:extLst>
          </p:cNvPr>
          <p:cNvSpPr/>
          <p:nvPr userDrawn="1"/>
        </p:nvSpPr>
        <p:spPr>
          <a:xfrm>
            <a:off x="0" y="4984549"/>
            <a:ext cx="9144000" cy="45719"/>
          </a:xfrm>
          <a:prstGeom prst="rect">
            <a:avLst/>
          </a:prstGeom>
          <a:gradFill flip="none" rotWithShape="1">
            <a:gsLst>
              <a:gs pos="0">
                <a:srgbClr val="008995"/>
              </a:gs>
              <a:gs pos="55000">
                <a:srgbClr val="CEDB0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custDataLst>
      <p:tags r:id="rId2"/>
    </p:custDataLst>
    <p:extLst>
      <p:ext uri="{BB962C8B-B14F-4D97-AF65-F5344CB8AC3E}">
        <p14:creationId xmlns:p14="http://schemas.microsoft.com/office/powerpoint/2010/main" val="9385528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8786169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en-GB" sz="18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0774841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nfec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3082" cy="212821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3097905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0379253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563011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243549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12882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2900509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8"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7"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32724990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8493405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5458518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767667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2764956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UK Scientis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10" name="Picture Placeholder 23" descr="AZ138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3874017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731572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190553908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8272860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2441370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6532054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9552741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3828798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2922924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916805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931334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cientist Examining Placenta">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9" name="Picture Placeholder 3" descr="AZ142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42759473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01129976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6440764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500" indent="-135000">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26747927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4513550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7791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32656957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5_Bullet Content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F3C702-19D1-4ED2-9F12-AD9B69839C34}"/>
              </a:ext>
            </a:extLst>
          </p:cNvPr>
          <p:cNvSpPr/>
          <p:nvPr userDrawn="1"/>
        </p:nvSpPr>
        <p:spPr>
          <a:xfrm>
            <a:off x="0" y="663"/>
            <a:ext cx="9144000" cy="430673"/>
          </a:xfrm>
          <a:prstGeom prst="rect">
            <a:avLst/>
          </a:prstGeom>
          <a:solidFill>
            <a:srgbClr val="5B305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aphicFrame>
        <p:nvGraphicFramePr>
          <p:cNvPr id="2" name="Object 1" hidden="1">
            <a:extLst>
              <a:ext uri="{FF2B5EF4-FFF2-40B4-BE49-F238E27FC236}">
                <a16:creationId xmlns:a16="http://schemas.microsoft.com/office/drawing/2014/main" id="{6F22D2E5-2396-4FBA-ACF0-DA8A230258CD}"/>
              </a:ext>
            </a:extLst>
          </p:cNvPr>
          <p:cNvGraphicFramePr>
            <a:graphicFrameLocks noChangeAspect="1"/>
          </p:cNvGraphicFramePr>
          <p:nvPr userDrawn="1">
            <p:custDataLst>
              <p:tags r:id="rId3"/>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170"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6F22D2E5-2396-4FBA-ACF0-DA8A230258CD}"/>
                          </a:ext>
                        </a:extLst>
                      </p:cNvPr>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7" name="Slide Number Placeholder 2">
            <a:extLst>
              <a:ext uri="{FF2B5EF4-FFF2-40B4-BE49-F238E27FC236}">
                <a16:creationId xmlns:a16="http://schemas.microsoft.com/office/drawing/2014/main" id="{7006255A-253B-4746-A87D-66CBF599D3FA}"/>
              </a:ext>
            </a:extLst>
          </p:cNvPr>
          <p:cNvSpPr>
            <a:spLocks noGrp="1"/>
          </p:cNvSpPr>
          <p:nvPr>
            <p:ph type="sldNum" sz="quarter" idx="4"/>
          </p:nvPr>
        </p:nvSpPr>
        <p:spPr>
          <a:xfrm>
            <a:off x="316800" y="4848249"/>
            <a:ext cx="396000" cy="162000"/>
          </a:xfrm>
        </p:spPr>
        <p:txBody>
          <a:bodyPr lIns="0" tIns="0" rIns="0" bIns="0"/>
          <a:lstStyle>
            <a:lvl1pPr algn="l">
              <a:defRPr sz="800"/>
            </a:lvl1pPr>
          </a:lstStyle>
          <a:p>
            <a:fld id="{3C4F54F3-C349-4609-AFEE-01462D5C7942}" type="slidenum">
              <a:rPr lang="en-GB" smtClean="0"/>
              <a:pPr/>
              <a:t>‹#›</a:t>
            </a:fld>
            <a:endParaRPr lang="en-GB" dirty="0"/>
          </a:p>
        </p:txBody>
      </p:sp>
      <p:sp>
        <p:nvSpPr>
          <p:cNvPr id="5" name="Title 8"/>
          <p:cNvSpPr>
            <a:spLocks noGrp="1"/>
          </p:cNvSpPr>
          <p:nvPr>
            <p:ph type="title" hasCustomPrompt="1"/>
          </p:nvPr>
        </p:nvSpPr>
        <p:spPr>
          <a:xfrm>
            <a:off x="237600" y="61200"/>
            <a:ext cx="8765651" cy="309600"/>
          </a:xfrm>
          <a:prstGeom prst="rect">
            <a:avLst/>
          </a:prstGeom>
        </p:spPr>
        <p:txBody>
          <a:bodyPr vert="horz" anchor="ctr"/>
          <a:lstStyle>
            <a:lvl1pPr algn="l">
              <a:lnSpc>
                <a:spcPct val="100000"/>
              </a:lnSpc>
              <a:defRPr sz="2400" b="0" baseline="0">
                <a:solidFill>
                  <a:schemeClr val="bg1"/>
                </a:solidFill>
                <a:latin typeface="Arial" pitchFamily="34" charset="0"/>
                <a:cs typeface="Arial" pitchFamily="34" charset="0"/>
              </a:defRPr>
            </a:lvl1pPr>
          </a:lstStyle>
          <a:p>
            <a:r>
              <a:rPr lang="en-GB" noProof="0"/>
              <a:t>Click to add title</a:t>
            </a:r>
          </a:p>
        </p:txBody>
      </p:sp>
      <p:pic>
        <p:nvPicPr>
          <p:cNvPr id="8" name="Picture 7">
            <a:extLst>
              <a:ext uri="{FF2B5EF4-FFF2-40B4-BE49-F238E27FC236}">
                <a16:creationId xmlns:a16="http://schemas.microsoft.com/office/drawing/2014/main" id="{55C3319E-D3D4-42A9-833F-BDC4F94DE747}"/>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a:off x="6946253" y="4606837"/>
            <a:ext cx="1386647" cy="292075"/>
          </a:xfrm>
          <a:prstGeom prst="rect">
            <a:avLst/>
          </a:prstGeom>
        </p:spPr>
      </p:pic>
      <p:sp>
        <p:nvSpPr>
          <p:cNvPr id="4" name="Rectangle 3">
            <a:extLst>
              <a:ext uri="{FF2B5EF4-FFF2-40B4-BE49-F238E27FC236}">
                <a16:creationId xmlns:a16="http://schemas.microsoft.com/office/drawing/2014/main" id="{193CA105-320C-4081-9626-EB986272AF54}"/>
              </a:ext>
            </a:extLst>
          </p:cNvPr>
          <p:cNvSpPr/>
          <p:nvPr userDrawn="1"/>
        </p:nvSpPr>
        <p:spPr>
          <a:xfrm>
            <a:off x="0" y="4981500"/>
            <a:ext cx="9144000" cy="162000"/>
          </a:xfrm>
          <a:prstGeom prst="rect">
            <a:avLst/>
          </a:prstGeom>
          <a:solidFill>
            <a:srgbClr val="CED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A5D74F8F-565F-4668-A815-F3A5418A9A6D}"/>
              </a:ext>
            </a:extLst>
          </p:cNvPr>
          <p:cNvSpPr/>
          <p:nvPr userDrawn="1"/>
        </p:nvSpPr>
        <p:spPr>
          <a:xfrm>
            <a:off x="0" y="4984549"/>
            <a:ext cx="9144000" cy="45719"/>
          </a:xfrm>
          <a:prstGeom prst="rect">
            <a:avLst/>
          </a:prstGeom>
          <a:gradFill flip="none" rotWithShape="1">
            <a:gsLst>
              <a:gs pos="0">
                <a:srgbClr val="008995"/>
              </a:gs>
              <a:gs pos="55000">
                <a:srgbClr val="CEDB0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custDataLst>
      <p:tags r:id="rId2"/>
    </p:custDataLst>
    <p:extLst>
      <p:ext uri="{BB962C8B-B14F-4D97-AF65-F5344CB8AC3E}">
        <p14:creationId xmlns:p14="http://schemas.microsoft.com/office/powerpoint/2010/main" val="244465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2.jpg"/><Relationship Id="rId3" Type="http://schemas.openxmlformats.org/officeDocument/2006/relationships/slideLayout" Target="../slideLayouts/slideLayout16.xml"/><Relationship Id="rId21" Type="http://schemas.openxmlformats.org/officeDocument/2006/relationships/theme" Target="../theme/theme2.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oleObject" Target="../embeddings/oleObject2.bin"/><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ags" Target="../tags/tag3.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6.xml"/><Relationship Id="rId7" Type="http://schemas.openxmlformats.org/officeDocument/2006/relationships/vmlDrawing" Target="../drawings/vmlDrawing3.v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3.xml"/><Relationship Id="rId11" Type="http://schemas.openxmlformats.org/officeDocument/2006/relationships/image" Target="../media/image2.jpg"/><Relationship Id="rId5" Type="http://schemas.openxmlformats.org/officeDocument/2006/relationships/slideLayout" Target="../slideLayouts/slideLayout38.xml"/><Relationship Id="rId10" Type="http://schemas.openxmlformats.org/officeDocument/2006/relationships/image" Target="../media/image1.emf"/><Relationship Id="rId4" Type="http://schemas.openxmlformats.org/officeDocument/2006/relationships/slideLayout" Target="../slideLayouts/slideLayout37.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34" Type="http://schemas.openxmlformats.org/officeDocument/2006/relationships/image" Target="../media/image1.emf"/><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oleObject" Target="../embeddings/oleObject4.bin"/><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tags" Target="../tags/tag5.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vmlDrawing" Target="../drawings/vmlDrawing4.v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theme" Target="../theme/theme4.xml"/><Relationship Id="rId35" Type="http://schemas.openxmlformats.org/officeDocument/2006/relationships/image" Target="../media/image2.jpg"/><Relationship Id="rId8"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34" Type="http://schemas.openxmlformats.org/officeDocument/2006/relationships/image" Target="../media/image1.emf"/><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oleObject" Target="../embeddings/oleObject6.bin"/><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tags" Target="../tags/tag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vmlDrawing" Target="../drawings/vmlDrawing6.v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theme" Target="../theme/theme5.xml"/><Relationship Id="rId8"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物件 2" hidden="1">
            <a:extLst>
              <a:ext uri="{FF2B5EF4-FFF2-40B4-BE49-F238E27FC236}">
                <a16:creationId xmlns:a16="http://schemas.microsoft.com/office/drawing/2014/main" id="{578097F1-2EBE-4D4A-AFFB-AC8277B52247}"/>
              </a:ext>
            </a:extLst>
          </p:cNvPr>
          <p:cNvGraphicFramePr>
            <a:graphicFrameLocks noChangeAspect="1"/>
          </p:cNvGraphicFramePr>
          <p:nvPr userDrawn="1">
            <p:custDataLst>
              <p:tags r:id="rId16"/>
            </p:custDataLst>
            <p:extLst>
              <p:ext uri="{D42A27DB-BD31-4B8C-83A1-F6EECF244321}">
                <p14:modId xmlns:p14="http://schemas.microsoft.com/office/powerpoint/2010/main" val="2030609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395" imgH="396" progId="TCLayout.ActiveDocument.1">
                  <p:embed/>
                </p:oleObj>
              </mc:Choice>
              <mc:Fallback>
                <p:oleObj name="think-cell Slide" r:id="rId17" imgW="395" imgH="396" progId="TCLayout.ActiveDocument.1">
                  <p:embed/>
                  <p:pic>
                    <p:nvPicPr>
                      <p:cNvPr id="3" name="物件 2" hidden="1">
                        <a:extLst>
                          <a:ext uri="{FF2B5EF4-FFF2-40B4-BE49-F238E27FC236}">
                            <a16:creationId xmlns:a16="http://schemas.microsoft.com/office/drawing/2014/main" id="{578097F1-2EBE-4D4A-AFFB-AC8277B5224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2" name="Picture 1" descr="AZ_SYMBOL_RGB.jpg"/>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211318905"/>
      </p:ext>
    </p:extLst>
  </p:cSld>
  <p:clrMap bg1="lt1" tx1="dk1" bg2="lt2" tx2="dk2" accent1="accent1" accent2="accent2" accent3="accent3" accent4="accent4" accent5="accent5" accent6="accent6" hlink="hlink" folHlink="folHlink"/>
  <p:sldLayoutIdLst>
    <p:sldLayoutId id="2147483752" r:id="rId1"/>
    <p:sldLayoutId id="2147483790"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24" r:id="rId11"/>
    <p:sldLayoutId id="2147483826" r:id="rId12"/>
    <p:sldLayoutId id="2147483789" r:id="rId1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物件 1" hidden="1">
            <a:extLst>
              <a:ext uri="{FF2B5EF4-FFF2-40B4-BE49-F238E27FC236}">
                <a16:creationId xmlns:a16="http://schemas.microsoft.com/office/drawing/2014/main" id="{23E146B3-4F90-4C6A-8E7D-7FF8A83CF3CF}"/>
              </a:ext>
            </a:extLst>
          </p:cNvPr>
          <p:cNvGraphicFramePr>
            <a:graphicFrameLocks noChangeAspect="1"/>
          </p:cNvGraphicFramePr>
          <p:nvPr userDrawn="1">
            <p:custDataLst>
              <p:tags r:id="rId23"/>
            </p:custDataLst>
            <p:extLst>
              <p:ext uri="{D42A27DB-BD31-4B8C-83A1-F6EECF244321}">
                <p14:modId xmlns:p14="http://schemas.microsoft.com/office/powerpoint/2010/main" val="245322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24" imgW="395" imgH="396" progId="TCLayout.ActiveDocument.1">
                  <p:embed/>
                </p:oleObj>
              </mc:Choice>
              <mc:Fallback>
                <p:oleObj name="think-cell Slide" r:id="rId24" imgW="395" imgH="396" progId="TCLayout.ActiveDocument.1">
                  <p:embed/>
                  <p:pic>
                    <p:nvPicPr>
                      <p:cNvPr id="2" name="物件 1" hidden="1">
                        <a:extLst>
                          <a:ext uri="{FF2B5EF4-FFF2-40B4-BE49-F238E27FC236}">
                            <a16:creationId xmlns:a16="http://schemas.microsoft.com/office/drawing/2014/main" id="{23E146B3-4F90-4C6A-8E7D-7FF8A83CF3CF}"/>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6052965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06" r:id="rId6"/>
    <p:sldLayoutId id="2147483807" r:id="rId7"/>
    <p:sldLayoutId id="2147483808" r:id="rId8"/>
    <p:sldLayoutId id="2147483809" r:id="rId9"/>
    <p:sldLayoutId id="2147483810" r:id="rId10"/>
    <p:sldLayoutId id="2147483825" r:id="rId11"/>
    <p:sldLayoutId id="2147483827"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物件 1" hidden="1">
            <a:extLst>
              <a:ext uri="{FF2B5EF4-FFF2-40B4-BE49-F238E27FC236}">
                <a16:creationId xmlns:a16="http://schemas.microsoft.com/office/drawing/2014/main" id="{81466B73-B433-4A70-AA38-62181690CE9B}"/>
              </a:ext>
            </a:extLst>
          </p:cNvPr>
          <p:cNvGraphicFramePr>
            <a:graphicFrameLocks noChangeAspect="1"/>
          </p:cNvGraphicFramePr>
          <p:nvPr userDrawn="1">
            <p:custDataLst>
              <p:tags r:id="rId8"/>
            </p:custDataLst>
            <p:extLst>
              <p:ext uri="{D42A27DB-BD31-4B8C-83A1-F6EECF244321}">
                <p14:modId xmlns:p14="http://schemas.microsoft.com/office/powerpoint/2010/main" val="2101835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9" imgW="395" imgH="396" progId="TCLayout.ActiveDocument.1">
                  <p:embed/>
                </p:oleObj>
              </mc:Choice>
              <mc:Fallback>
                <p:oleObj name="think-cell Slide" r:id="rId9" imgW="395" imgH="396" progId="TCLayout.ActiveDocument.1">
                  <p:embed/>
                  <p:pic>
                    <p:nvPicPr>
                      <p:cNvPr id="2" name="物件 1" hidden="1">
                        <a:extLst>
                          <a:ext uri="{FF2B5EF4-FFF2-40B4-BE49-F238E27FC236}">
                            <a16:creationId xmlns:a16="http://schemas.microsoft.com/office/drawing/2014/main" id="{81466B73-B433-4A70-AA38-62181690CE9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56080045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物件 1" hidden="1">
            <a:extLst>
              <a:ext uri="{FF2B5EF4-FFF2-40B4-BE49-F238E27FC236}">
                <a16:creationId xmlns:a16="http://schemas.microsoft.com/office/drawing/2014/main" id="{AB77C188-4B8E-40E7-B137-76C75C2198C9}"/>
              </a:ext>
            </a:extLst>
          </p:cNvPr>
          <p:cNvGraphicFramePr>
            <a:graphicFrameLocks noChangeAspect="1"/>
          </p:cNvGraphicFramePr>
          <p:nvPr userDrawn="1">
            <p:custDataLst>
              <p:tags r:id="rId32"/>
            </p:custDataLst>
            <p:extLst>
              <p:ext uri="{D42A27DB-BD31-4B8C-83A1-F6EECF244321}">
                <p14:modId xmlns:p14="http://schemas.microsoft.com/office/powerpoint/2010/main" val="1809773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33" imgW="395" imgH="396" progId="TCLayout.ActiveDocument.1">
                  <p:embed/>
                </p:oleObj>
              </mc:Choice>
              <mc:Fallback>
                <p:oleObj name="think-cell Slide" r:id="rId33" imgW="395" imgH="396" progId="TCLayout.ActiveDocument.1">
                  <p:embed/>
                  <p:pic>
                    <p:nvPicPr>
                      <p:cNvPr id="2" name="物件 1" hidden="1">
                        <a:extLst>
                          <a:ext uri="{FF2B5EF4-FFF2-40B4-BE49-F238E27FC236}">
                            <a16:creationId xmlns:a16="http://schemas.microsoft.com/office/drawing/2014/main" id="{AB77C188-4B8E-40E7-B137-76C75C2198C9}"/>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525332996"/>
      </p:ext>
    </p:extLst>
  </p:cSld>
  <p:clrMap bg1="lt1" tx1="dk1" bg2="lt2" tx2="dk2" accent1="accent1" accent2="accent2" accent3="accent3" accent4="accent4" accent5="accent5" accent6="accent6" hlink="hlink" folHlink="folHlink"/>
  <p:sldLayoutIdLst>
    <p:sldLayoutId id="2147483676" r:id="rId1"/>
    <p:sldLayoutId id="2147483714" r:id="rId2"/>
    <p:sldLayoutId id="2147483720" r:id="rId3"/>
    <p:sldLayoutId id="2147483721" r:id="rId4"/>
    <p:sldLayoutId id="2147483722" r:id="rId5"/>
    <p:sldLayoutId id="2147483723" r:id="rId6"/>
    <p:sldLayoutId id="2147483724" r:id="rId7"/>
    <p:sldLayoutId id="214748368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829" r:id="rId28"/>
    <p:sldLayoutId id="2147483830"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物件 1" hidden="1">
            <a:extLst>
              <a:ext uri="{FF2B5EF4-FFF2-40B4-BE49-F238E27FC236}">
                <a16:creationId xmlns:a16="http://schemas.microsoft.com/office/drawing/2014/main" id="{AB77C188-4B8E-40E7-B137-76C75C2198C9}"/>
              </a:ext>
            </a:extLst>
          </p:cNvPr>
          <p:cNvGraphicFramePr>
            <a:graphicFrameLocks noChangeAspect="1"/>
          </p:cNvGraphicFramePr>
          <p:nvPr userDrawn="1">
            <p:custDataLst>
              <p:tags r:id="rId32"/>
            </p:custDataLst>
            <p:extLst>
              <p:ext uri="{D42A27DB-BD31-4B8C-83A1-F6EECF244321}">
                <p14:modId xmlns:p14="http://schemas.microsoft.com/office/powerpoint/2010/main" val="133594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33" imgW="395" imgH="396" progId="TCLayout.ActiveDocument.1">
                  <p:embed/>
                </p:oleObj>
              </mc:Choice>
              <mc:Fallback>
                <p:oleObj name="think-cell Slide" r:id="rId33" imgW="395" imgH="396" progId="TCLayout.ActiveDocument.1">
                  <p:embed/>
                  <p:pic>
                    <p:nvPicPr>
                      <p:cNvPr id="2" name="物件 1" hidden="1">
                        <a:extLst>
                          <a:ext uri="{FF2B5EF4-FFF2-40B4-BE49-F238E27FC236}">
                            <a16:creationId xmlns:a16="http://schemas.microsoft.com/office/drawing/2014/main" id="{AB77C188-4B8E-40E7-B137-76C75C2198C9}"/>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207905415"/>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7.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物件 3" hidden="1">
            <a:extLst>
              <a:ext uri="{FF2B5EF4-FFF2-40B4-BE49-F238E27FC236}">
                <a16:creationId xmlns:a16="http://schemas.microsoft.com/office/drawing/2014/main" id="{01FD91FF-D78F-489D-84BC-B41F31494EEE}"/>
              </a:ext>
            </a:extLst>
          </p:cNvPr>
          <p:cNvGraphicFramePr>
            <a:graphicFrameLocks noChangeAspect="1"/>
          </p:cNvGraphicFramePr>
          <p:nvPr>
            <p:custDataLst>
              <p:tags r:id="rId2"/>
            </p:custDataLst>
            <p:extLst>
              <p:ext uri="{D42A27DB-BD31-4B8C-83A1-F6EECF244321}">
                <p14:modId xmlns:p14="http://schemas.microsoft.com/office/powerpoint/2010/main" val="4262229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95" imgH="396" progId="TCLayout.ActiveDocument.1">
                  <p:embed/>
                </p:oleObj>
              </mc:Choice>
              <mc:Fallback>
                <p:oleObj name="think-cell Slide" r:id="rId5" imgW="395" imgH="396" progId="TCLayout.ActiveDocument.1">
                  <p:embed/>
                  <p:pic>
                    <p:nvPicPr>
                      <p:cNvPr id="4" name="物件 3" hidden="1">
                        <a:extLst>
                          <a:ext uri="{FF2B5EF4-FFF2-40B4-BE49-F238E27FC236}">
                            <a16:creationId xmlns:a16="http://schemas.microsoft.com/office/drawing/2014/main" id="{01FD91FF-D78F-489D-84BC-B41F31494E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矩形 2" hidden="1">
            <a:extLst>
              <a:ext uri="{FF2B5EF4-FFF2-40B4-BE49-F238E27FC236}">
                <a16:creationId xmlns:a16="http://schemas.microsoft.com/office/drawing/2014/main" id="{16F22B45-A94B-4D95-B061-FD08E0649866}"/>
              </a:ext>
            </a:extLst>
          </p:cNvPr>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altLang="zh-TW" b="1" dirty="0">
              <a:latin typeface="Arial" panose="020B0604020202020204" pitchFamily="34" charset="0"/>
              <a:ea typeface="微軟正黑體" panose="020B0604030504040204" pitchFamily="34" charset="-120"/>
              <a:cs typeface="Arial" panose="020B0604020202020204" pitchFamily="34" charset="0"/>
              <a:sym typeface="Arial" panose="020B0604020202020204" pitchFamily="34" charset="0"/>
            </a:endParaRPr>
          </a:p>
        </p:txBody>
      </p:sp>
      <p:sp>
        <p:nvSpPr>
          <p:cNvPr id="2" name="標題 1">
            <a:extLst>
              <a:ext uri="{FF2B5EF4-FFF2-40B4-BE49-F238E27FC236}">
                <a16:creationId xmlns:a16="http://schemas.microsoft.com/office/drawing/2014/main" id="{7BAFA33C-FB9C-45D9-9FA3-39819C30E52D}"/>
              </a:ext>
            </a:extLst>
          </p:cNvPr>
          <p:cNvSpPr>
            <a:spLocks noGrp="1"/>
          </p:cNvSpPr>
          <p:nvPr>
            <p:ph type="title"/>
          </p:nvPr>
        </p:nvSpPr>
        <p:spPr>
          <a:xfrm>
            <a:off x="237600" y="316296"/>
            <a:ext cx="8280000" cy="504000"/>
          </a:xfrm>
        </p:spPr>
        <p:txBody>
          <a:bodyPr vert="horz"/>
          <a:lstStyle/>
          <a:p>
            <a:r>
              <a:rPr lang="en-US" altLang="zh-TW" dirty="0" err="1"/>
              <a:t>Go~Go~Goal</a:t>
            </a:r>
            <a:br>
              <a:rPr lang="en-US" altLang="zh-TW" dirty="0"/>
            </a:br>
            <a:r>
              <a:rPr lang="en-US" altLang="zh-TW" dirty="0"/>
              <a:t>2021 </a:t>
            </a:r>
            <a:r>
              <a:rPr lang="zh-TW" altLang="en-US" dirty="0"/>
              <a:t>高風險病人血脂達標及促進方案競賽</a:t>
            </a:r>
            <a:br>
              <a:rPr lang="zh-TW" altLang="en-US" sz="1800" b="0" dirty="0"/>
            </a:br>
            <a:br>
              <a:rPr lang="en-US" altLang="zh-TW" dirty="0"/>
            </a:br>
            <a:r>
              <a:rPr lang="en-US" altLang="zh-TW" sz="2000" b="0" dirty="0"/>
              <a:t>ASCVD</a:t>
            </a:r>
            <a:r>
              <a:rPr lang="zh-TW" altLang="en-US" sz="2000" b="0" dirty="0"/>
              <a:t>高風險病人血脂照護品質提升</a:t>
            </a:r>
            <a:br>
              <a:rPr lang="en-US" altLang="zh-TW" sz="2000" b="0" dirty="0"/>
            </a:br>
            <a:br>
              <a:rPr lang="en-US" altLang="zh-TW" sz="2000" b="0" dirty="0"/>
            </a:br>
            <a:br>
              <a:rPr lang="en-US" altLang="zh-TW" sz="2000" b="0" dirty="0"/>
            </a:br>
            <a:r>
              <a:rPr lang="zh-TW" altLang="en-US" sz="2000" b="0" dirty="0"/>
              <a:t>簡報主題：</a:t>
            </a:r>
            <a:br>
              <a:rPr lang="en-US" altLang="zh-TW" sz="2000" b="0" dirty="0"/>
            </a:br>
            <a:br>
              <a:rPr lang="en-US" altLang="zh-TW" sz="2000" b="0" dirty="0"/>
            </a:br>
            <a:br>
              <a:rPr lang="en-US" altLang="zh-TW" sz="2000" b="0" dirty="0"/>
            </a:br>
            <a:br>
              <a:rPr lang="en-US" altLang="zh-TW" dirty="0"/>
            </a:br>
            <a:br>
              <a:rPr lang="en-US" altLang="zh-TW" dirty="0"/>
            </a:br>
            <a:r>
              <a:rPr lang="zh-TW" altLang="en-US" sz="1800" dirty="0"/>
              <a:t>參賽單位：</a:t>
            </a:r>
            <a:endParaRPr lang="zh-TW" altLang="en-US" dirty="0"/>
          </a:p>
        </p:txBody>
      </p:sp>
      <p:pic>
        <p:nvPicPr>
          <p:cNvPr id="5" name="圖片 4">
            <a:extLst>
              <a:ext uri="{FF2B5EF4-FFF2-40B4-BE49-F238E27FC236}">
                <a16:creationId xmlns:a16="http://schemas.microsoft.com/office/drawing/2014/main" id="{41E79940-A056-410D-990F-EA892B7E1556}"/>
              </a:ext>
            </a:extLst>
          </p:cNvPr>
          <p:cNvPicPr>
            <a:picLocks noChangeAspect="1"/>
          </p:cNvPicPr>
          <p:nvPr/>
        </p:nvPicPr>
        <p:blipFill>
          <a:blip r:embed="rId7"/>
          <a:stretch>
            <a:fillRect/>
          </a:stretch>
        </p:blipFill>
        <p:spPr>
          <a:xfrm>
            <a:off x="6384587" y="4396517"/>
            <a:ext cx="2598645" cy="586791"/>
          </a:xfrm>
          <a:prstGeom prst="rect">
            <a:avLst/>
          </a:prstGeom>
        </p:spPr>
      </p:pic>
    </p:spTree>
    <p:extLst>
      <p:ext uri="{BB962C8B-B14F-4D97-AF65-F5344CB8AC3E}">
        <p14:creationId xmlns:p14="http://schemas.microsoft.com/office/powerpoint/2010/main" val="31023209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物件 4" hidden="1">
            <a:extLst>
              <a:ext uri="{FF2B5EF4-FFF2-40B4-BE49-F238E27FC236}">
                <a16:creationId xmlns:a16="http://schemas.microsoft.com/office/drawing/2014/main" id="{A5B41A88-FB9B-47C6-BB95-C1297162BFE9}"/>
              </a:ext>
            </a:extLst>
          </p:cNvPr>
          <p:cNvGraphicFramePr>
            <a:graphicFrameLocks noChangeAspect="1"/>
          </p:cNvGraphicFramePr>
          <p:nvPr>
            <p:custDataLst>
              <p:tags r:id="rId2"/>
            </p:custDataLst>
            <p:extLst>
              <p:ext uri="{D42A27DB-BD31-4B8C-83A1-F6EECF244321}">
                <p14:modId xmlns:p14="http://schemas.microsoft.com/office/powerpoint/2010/main" val="2059940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73" imgH="476" progId="TCLayout.ActiveDocument.1">
                  <p:embed/>
                </p:oleObj>
              </mc:Choice>
              <mc:Fallback>
                <p:oleObj name="think-cell Slide" r:id="rId4" imgW="473" imgH="476" progId="TCLayout.ActiveDocument.1">
                  <p:embed/>
                  <p:pic>
                    <p:nvPicPr>
                      <p:cNvPr id="5" name="物件 4" hidden="1">
                        <a:extLst>
                          <a:ext uri="{FF2B5EF4-FFF2-40B4-BE49-F238E27FC236}">
                            <a16:creationId xmlns:a16="http://schemas.microsoft.com/office/drawing/2014/main" id="{A5B41A88-FB9B-47C6-BB95-C1297162BF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標題 1">
            <a:extLst>
              <a:ext uri="{FF2B5EF4-FFF2-40B4-BE49-F238E27FC236}">
                <a16:creationId xmlns:a16="http://schemas.microsoft.com/office/drawing/2014/main" id="{DDB02969-ECBE-4B07-9C9B-A04A0FB33B84}"/>
              </a:ext>
            </a:extLst>
          </p:cNvPr>
          <p:cNvSpPr>
            <a:spLocks noGrp="1"/>
          </p:cNvSpPr>
          <p:nvPr>
            <p:ph type="title"/>
          </p:nvPr>
        </p:nvSpPr>
        <p:spPr/>
        <p:txBody>
          <a:bodyPr vert="horz"/>
          <a:lstStyle/>
          <a:p>
            <a:r>
              <a:rPr lang="zh-TW" altLang="en-US" dirty="0"/>
              <a:t>促進方案發想背景 </a:t>
            </a:r>
            <a:r>
              <a:rPr lang="en-US" altLang="zh-TW" dirty="0"/>
              <a:t>– </a:t>
            </a:r>
            <a:r>
              <a:rPr lang="zh-TW" altLang="en-US" dirty="0"/>
              <a:t>想解決什麼問題</a:t>
            </a:r>
            <a:r>
              <a:rPr lang="en-US" altLang="zh-TW" dirty="0"/>
              <a:t>?</a:t>
            </a:r>
            <a:endParaRPr lang="zh-TW" altLang="en-US" dirty="0"/>
          </a:p>
        </p:txBody>
      </p:sp>
      <p:sp>
        <p:nvSpPr>
          <p:cNvPr id="3" name="投影片編號版面配置區 2">
            <a:extLst>
              <a:ext uri="{FF2B5EF4-FFF2-40B4-BE49-F238E27FC236}">
                <a16:creationId xmlns:a16="http://schemas.microsoft.com/office/drawing/2014/main" id="{44E382CD-9591-4E4A-97C4-7BDA86B051C8}"/>
              </a:ext>
            </a:extLst>
          </p:cNvPr>
          <p:cNvSpPr>
            <a:spLocks noGrp="1"/>
          </p:cNvSpPr>
          <p:nvPr>
            <p:ph type="sldNum" sz="quarter" idx="4"/>
          </p:nvPr>
        </p:nvSpPr>
        <p:spPr/>
        <p:txBody>
          <a:bodyPr/>
          <a:lstStyle/>
          <a:p>
            <a:fld id="{3C4F54F3-C349-4609-AFEE-01462D5C7942}" type="slidenum">
              <a:rPr lang="en-GB" smtClean="0"/>
              <a:pPr/>
              <a:t>2</a:t>
            </a:fld>
            <a:endParaRPr lang="en-GB" dirty="0"/>
          </a:p>
        </p:txBody>
      </p:sp>
      <p:sp>
        <p:nvSpPr>
          <p:cNvPr id="4" name="內容版面配置區 3">
            <a:extLst>
              <a:ext uri="{FF2B5EF4-FFF2-40B4-BE49-F238E27FC236}">
                <a16:creationId xmlns:a16="http://schemas.microsoft.com/office/drawing/2014/main" id="{88F72E92-3036-41A3-B8A6-0B9373D6D46D}"/>
              </a:ext>
            </a:extLst>
          </p:cNvPr>
          <p:cNvSpPr>
            <a:spLocks noGrp="1"/>
          </p:cNvSpPr>
          <p:nvPr>
            <p:ph idx="16"/>
          </p:nvPr>
        </p:nvSpPr>
        <p:spPr/>
        <p:txBody>
          <a:bodyPr/>
          <a:lstStyle/>
          <a:p>
            <a:endParaRPr lang="zh-TW" altLang="en-US"/>
          </a:p>
        </p:txBody>
      </p:sp>
    </p:spTree>
    <p:extLst>
      <p:ext uri="{BB962C8B-B14F-4D97-AF65-F5344CB8AC3E}">
        <p14:creationId xmlns:p14="http://schemas.microsoft.com/office/powerpoint/2010/main" val="2737907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物件 4" hidden="1">
            <a:extLst>
              <a:ext uri="{FF2B5EF4-FFF2-40B4-BE49-F238E27FC236}">
                <a16:creationId xmlns:a16="http://schemas.microsoft.com/office/drawing/2014/main" id="{A5B41A88-FB9B-47C6-BB95-C1297162BFE9}"/>
              </a:ext>
            </a:extLst>
          </p:cNvPr>
          <p:cNvGraphicFramePr>
            <a:graphicFrameLocks noChangeAspect="1"/>
          </p:cNvGraphicFramePr>
          <p:nvPr>
            <p:custDataLst>
              <p:tags r:id="rId2"/>
            </p:custDataLst>
            <p:extLst>
              <p:ext uri="{D42A27DB-BD31-4B8C-83A1-F6EECF244321}">
                <p14:modId xmlns:p14="http://schemas.microsoft.com/office/powerpoint/2010/main" val="1274828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73" imgH="476" progId="TCLayout.ActiveDocument.1">
                  <p:embed/>
                </p:oleObj>
              </mc:Choice>
              <mc:Fallback>
                <p:oleObj name="think-cell Slide" r:id="rId4" imgW="473" imgH="476" progId="TCLayout.ActiveDocument.1">
                  <p:embed/>
                  <p:pic>
                    <p:nvPicPr>
                      <p:cNvPr id="5" name="物件 4" hidden="1">
                        <a:extLst>
                          <a:ext uri="{FF2B5EF4-FFF2-40B4-BE49-F238E27FC236}">
                            <a16:creationId xmlns:a16="http://schemas.microsoft.com/office/drawing/2014/main" id="{A5B41A88-FB9B-47C6-BB95-C1297162BF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標題 1">
            <a:extLst>
              <a:ext uri="{FF2B5EF4-FFF2-40B4-BE49-F238E27FC236}">
                <a16:creationId xmlns:a16="http://schemas.microsoft.com/office/drawing/2014/main" id="{DDB02969-ECBE-4B07-9C9B-A04A0FB33B84}"/>
              </a:ext>
            </a:extLst>
          </p:cNvPr>
          <p:cNvSpPr>
            <a:spLocks noGrp="1"/>
          </p:cNvSpPr>
          <p:nvPr>
            <p:ph type="title"/>
          </p:nvPr>
        </p:nvSpPr>
        <p:spPr/>
        <p:txBody>
          <a:bodyPr vert="horz"/>
          <a:lstStyle/>
          <a:p>
            <a:r>
              <a:rPr lang="zh-TW" altLang="en-US" dirty="0"/>
              <a:t>促進方案介紹 </a:t>
            </a:r>
            <a:r>
              <a:rPr lang="en-US" altLang="zh-TW" dirty="0"/>
              <a:t>– </a:t>
            </a:r>
            <a:r>
              <a:rPr lang="zh-TW" altLang="en-US" dirty="0"/>
              <a:t>怎麼做</a:t>
            </a:r>
            <a:r>
              <a:rPr lang="en-US" altLang="zh-TW" dirty="0"/>
              <a:t>?</a:t>
            </a:r>
            <a:endParaRPr lang="zh-TW" altLang="en-US" dirty="0"/>
          </a:p>
        </p:txBody>
      </p:sp>
      <p:sp>
        <p:nvSpPr>
          <p:cNvPr id="3" name="投影片編號版面配置區 2">
            <a:extLst>
              <a:ext uri="{FF2B5EF4-FFF2-40B4-BE49-F238E27FC236}">
                <a16:creationId xmlns:a16="http://schemas.microsoft.com/office/drawing/2014/main" id="{44E382CD-9591-4E4A-97C4-7BDA86B051C8}"/>
              </a:ext>
            </a:extLst>
          </p:cNvPr>
          <p:cNvSpPr>
            <a:spLocks noGrp="1"/>
          </p:cNvSpPr>
          <p:nvPr>
            <p:ph type="sldNum" sz="quarter" idx="4"/>
          </p:nvPr>
        </p:nvSpPr>
        <p:spPr/>
        <p:txBody>
          <a:bodyPr/>
          <a:lstStyle/>
          <a:p>
            <a:fld id="{3C4F54F3-C349-4609-AFEE-01462D5C7942}" type="slidenum">
              <a:rPr lang="en-GB" smtClean="0"/>
              <a:pPr/>
              <a:t>3</a:t>
            </a:fld>
            <a:endParaRPr lang="en-GB" dirty="0"/>
          </a:p>
        </p:txBody>
      </p:sp>
      <p:sp>
        <p:nvSpPr>
          <p:cNvPr id="4" name="內容版面配置區 3">
            <a:extLst>
              <a:ext uri="{FF2B5EF4-FFF2-40B4-BE49-F238E27FC236}">
                <a16:creationId xmlns:a16="http://schemas.microsoft.com/office/drawing/2014/main" id="{88F72E92-3036-41A3-B8A6-0B9373D6D46D}"/>
              </a:ext>
            </a:extLst>
          </p:cNvPr>
          <p:cNvSpPr>
            <a:spLocks noGrp="1"/>
          </p:cNvSpPr>
          <p:nvPr>
            <p:ph idx="16"/>
          </p:nvPr>
        </p:nvSpPr>
        <p:spPr/>
        <p:txBody>
          <a:bodyPr/>
          <a:lstStyle/>
          <a:p>
            <a:endParaRPr lang="zh-TW" altLang="en-US"/>
          </a:p>
        </p:txBody>
      </p:sp>
    </p:spTree>
    <p:extLst>
      <p:ext uri="{BB962C8B-B14F-4D97-AF65-F5344CB8AC3E}">
        <p14:creationId xmlns:p14="http://schemas.microsoft.com/office/powerpoint/2010/main" val="4003494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物件 4" hidden="1">
            <a:extLst>
              <a:ext uri="{FF2B5EF4-FFF2-40B4-BE49-F238E27FC236}">
                <a16:creationId xmlns:a16="http://schemas.microsoft.com/office/drawing/2014/main" id="{A5B41A88-FB9B-47C6-BB95-C1297162BFE9}"/>
              </a:ext>
            </a:extLst>
          </p:cNvPr>
          <p:cNvGraphicFramePr>
            <a:graphicFrameLocks noChangeAspect="1"/>
          </p:cNvGraphicFramePr>
          <p:nvPr>
            <p:custDataLst>
              <p:tags r:id="rId2"/>
            </p:custDataLst>
            <p:extLst>
              <p:ext uri="{D42A27DB-BD31-4B8C-83A1-F6EECF244321}">
                <p14:modId xmlns:p14="http://schemas.microsoft.com/office/powerpoint/2010/main" val="634277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73" imgH="476" progId="TCLayout.ActiveDocument.1">
                  <p:embed/>
                </p:oleObj>
              </mc:Choice>
              <mc:Fallback>
                <p:oleObj name="think-cell Slide" r:id="rId4" imgW="473" imgH="476" progId="TCLayout.ActiveDocument.1">
                  <p:embed/>
                  <p:pic>
                    <p:nvPicPr>
                      <p:cNvPr id="5" name="物件 4" hidden="1">
                        <a:extLst>
                          <a:ext uri="{FF2B5EF4-FFF2-40B4-BE49-F238E27FC236}">
                            <a16:creationId xmlns:a16="http://schemas.microsoft.com/office/drawing/2014/main" id="{A5B41A88-FB9B-47C6-BB95-C1297162BF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標題 1">
            <a:extLst>
              <a:ext uri="{FF2B5EF4-FFF2-40B4-BE49-F238E27FC236}">
                <a16:creationId xmlns:a16="http://schemas.microsoft.com/office/drawing/2014/main" id="{DDB02969-ECBE-4B07-9C9B-A04A0FB33B84}"/>
              </a:ext>
            </a:extLst>
          </p:cNvPr>
          <p:cNvSpPr>
            <a:spLocks noGrp="1"/>
          </p:cNvSpPr>
          <p:nvPr>
            <p:ph type="title"/>
          </p:nvPr>
        </p:nvSpPr>
        <p:spPr/>
        <p:txBody>
          <a:bodyPr vert="horz"/>
          <a:lstStyle/>
          <a:p>
            <a:r>
              <a:rPr lang="zh-TW" altLang="en-US" dirty="0"/>
              <a:t>促進方案成本估算 </a:t>
            </a:r>
            <a:r>
              <a:rPr lang="en-US" altLang="zh-TW" dirty="0"/>
              <a:t>– </a:t>
            </a:r>
            <a:r>
              <a:rPr lang="zh-TW" altLang="en-US" dirty="0"/>
              <a:t>要多少人力</a:t>
            </a:r>
            <a:r>
              <a:rPr lang="en-US" altLang="zh-TW" dirty="0"/>
              <a:t>?</a:t>
            </a:r>
            <a:r>
              <a:rPr lang="zh-TW" altLang="en-US" dirty="0"/>
              <a:t>多少金額投入</a:t>
            </a:r>
            <a:r>
              <a:rPr lang="en-US" altLang="zh-TW" dirty="0"/>
              <a:t>?</a:t>
            </a:r>
            <a:endParaRPr lang="zh-TW" altLang="en-US" dirty="0"/>
          </a:p>
        </p:txBody>
      </p:sp>
      <p:sp>
        <p:nvSpPr>
          <p:cNvPr id="3" name="投影片編號版面配置區 2">
            <a:extLst>
              <a:ext uri="{FF2B5EF4-FFF2-40B4-BE49-F238E27FC236}">
                <a16:creationId xmlns:a16="http://schemas.microsoft.com/office/drawing/2014/main" id="{44E382CD-9591-4E4A-97C4-7BDA86B051C8}"/>
              </a:ext>
            </a:extLst>
          </p:cNvPr>
          <p:cNvSpPr>
            <a:spLocks noGrp="1"/>
          </p:cNvSpPr>
          <p:nvPr>
            <p:ph type="sldNum" sz="quarter" idx="4"/>
          </p:nvPr>
        </p:nvSpPr>
        <p:spPr/>
        <p:txBody>
          <a:bodyPr/>
          <a:lstStyle/>
          <a:p>
            <a:fld id="{3C4F54F3-C349-4609-AFEE-01462D5C7942}" type="slidenum">
              <a:rPr lang="en-GB" smtClean="0"/>
              <a:pPr/>
              <a:t>4</a:t>
            </a:fld>
            <a:endParaRPr lang="en-GB" dirty="0"/>
          </a:p>
        </p:txBody>
      </p:sp>
      <p:sp>
        <p:nvSpPr>
          <p:cNvPr id="4" name="內容版面配置區 3">
            <a:extLst>
              <a:ext uri="{FF2B5EF4-FFF2-40B4-BE49-F238E27FC236}">
                <a16:creationId xmlns:a16="http://schemas.microsoft.com/office/drawing/2014/main" id="{88F72E92-3036-41A3-B8A6-0B9373D6D46D}"/>
              </a:ext>
            </a:extLst>
          </p:cNvPr>
          <p:cNvSpPr>
            <a:spLocks noGrp="1"/>
          </p:cNvSpPr>
          <p:nvPr>
            <p:ph idx="16"/>
          </p:nvPr>
        </p:nvSpPr>
        <p:spPr/>
        <p:txBody>
          <a:bodyPr/>
          <a:lstStyle/>
          <a:p>
            <a:endParaRPr lang="zh-TW" altLang="en-US"/>
          </a:p>
        </p:txBody>
      </p:sp>
    </p:spTree>
    <p:extLst>
      <p:ext uri="{BB962C8B-B14F-4D97-AF65-F5344CB8AC3E}">
        <p14:creationId xmlns:p14="http://schemas.microsoft.com/office/powerpoint/2010/main" val="3541338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物件 4" hidden="1">
            <a:extLst>
              <a:ext uri="{FF2B5EF4-FFF2-40B4-BE49-F238E27FC236}">
                <a16:creationId xmlns:a16="http://schemas.microsoft.com/office/drawing/2014/main" id="{A5B41A88-FB9B-47C6-BB95-C1297162BFE9}"/>
              </a:ext>
            </a:extLst>
          </p:cNvPr>
          <p:cNvGraphicFramePr>
            <a:graphicFrameLocks noChangeAspect="1"/>
          </p:cNvGraphicFramePr>
          <p:nvPr>
            <p:custDataLst>
              <p:tags r:id="rId2"/>
            </p:custDataLst>
            <p:extLst>
              <p:ext uri="{D42A27DB-BD31-4B8C-83A1-F6EECF244321}">
                <p14:modId xmlns:p14="http://schemas.microsoft.com/office/powerpoint/2010/main" val="190158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473" imgH="476" progId="TCLayout.ActiveDocument.1">
                  <p:embed/>
                </p:oleObj>
              </mc:Choice>
              <mc:Fallback>
                <p:oleObj name="think-cell Slide" r:id="rId4" imgW="473" imgH="476" progId="TCLayout.ActiveDocument.1">
                  <p:embed/>
                  <p:pic>
                    <p:nvPicPr>
                      <p:cNvPr id="5" name="物件 4" hidden="1">
                        <a:extLst>
                          <a:ext uri="{FF2B5EF4-FFF2-40B4-BE49-F238E27FC236}">
                            <a16:creationId xmlns:a16="http://schemas.microsoft.com/office/drawing/2014/main" id="{A5B41A88-FB9B-47C6-BB95-C1297162BF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標題 1">
            <a:extLst>
              <a:ext uri="{FF2B5EF4-FFF2-40B4-BE49-F238E27FC236}">
                <a16:creationId xmlns:a16="http://schemas.microsoft.com/office/drawing/2014/main" id="{DDB02969-ECBE-4B07-9C9B-A04A0FB33B84}"/>
              </a:ext>
            </a:extLst>
          </p:cNvPr>
          <p:cNvSpPr>
            <a:spLocks noGrp="1"/>
          </p:cNvSpPr>
          <p:nvPr>
            <p:ph type="title"/>
          </p:nvPr>
        </p:nvSpPr>
        <p:spPr/>
        <p:txBody>
          <a:bodyPr vert="horz"/>
          <a:lstStyle/>
          <a:p>
            <a:r>
              <a:rPr lang="zh-TW" altLang="en-US" dirty="0"/>
              <a:t>促進方案</a:t>
            </a:r>
            <a:r>
              <a:rPr lang="en-US" altLang="zh-TW" dirty="0"/>
              <a:t>(</a:t>
            </a:r>
            <a:r>
              <a:rPr lang="zh-TW" altLang="en-US" dirty="0"/>
              <a:t>預期</a:t>
            </a:r>
            <a:r>
              <a:rPr lang="en-US" altLang="zh-TW" dirty="0"/>
              <a:t>)</a:t>
            </a:r>
            <a:r>
              <a:rPr lang="zh-TW" altLang="en-US" dirty="0"/>
              <a:t>成果 </a:t>
            </a:r>
            <a:r>
              <a:rPr lang="en-US" altLang="zh-TW" dirty="0"/>
              <a:t>–</a:t>
            </a:r>
            <a:r>
              <a:rPr lang="zh-TW" altLang="en-US" dirty="0"/>
              <a:t> 改善了什麼</a:t>
            </a:r>
            <a:r>
              <a:rPr lang="en-US" altLang="zh-TW" dirty="0"/>
              <a:t>?</a:t>
            </a:r>
            <a:r>
              <a:rPr lang="zh-TW" altLang="en-US" dirty="0"/>
              <a:t> </a:t>
            </a:r>
            <a:r>
              <a:rPr lang="en-US" altLang="zh-TW" dirty="0"/>
              <a:t> </a:t>
            </a:r>
            <a:endParaRPr lang="zh-TW" altLang="en-US" dirty="0"/>
          </a:p>
        </p:txBody>
      </p:sp>
      <p:sp>
        <p:nvSpPr>
          <p:cNvPr id="3" name="投影片編號版面配置區 2">
            <a:extLst>
              <a:ext uri="{FF2B5EF4-FFF2-40B4-BE49-F238E27FC236}">
                <a16:creationId xmlns:a16="http://schemas.microsoft.com/office/drawing/2014/main" id="{44E382CD-9591-4E4A-97C4-7BDA86B051C8}"/>
              </a:ext>
            </a:extLst>
          </p:cNvPr>
          <p:cNvSpPr>
            <a:spLocks noGrp="1"/>
          </p:cNvSpPr>
          <p:nvPr>
            <p:ph type="sldNum" sz="quarter" idx="4"/>
          </p:nvPr>
        </p:nvSpPr>
        <p:spPr/>
        <p:txBody>
          <a:bodyPr/>
          <a:lstStyle/>
          <a:p>
            <a:fld id="{3C4F54F3-C349-4609-AFEE-01462D5C7942}" type="slidenum">
              <a:rPr lang="en-GB" smtClean="0"/>
              <a:pPr/>
              <a:t>5</a:t>
            </a:fld>
            <a:endParaRPr lang="en-GB" dirty="0"/>
          </a:p>
        </p:txBody>
      </p:sp>
      <p:sp>
        <p:nvSpPr>
          <p:cNvPr id="4" name="內容版面配置區 3">
            <a:extLst>
              <a:ext uri="{FF2B5EF4-FFF2-40B4-BE49-F238E27FC236}">
                <a16:creationId xmlns:a16="http://schemas.microsoft.com/office/drawing/2014/main" id="{88F72E92-3036-41A3-B8A6-0B9373D6D46D}"/>
              </a:ext>
            </a:extLst>
          </p:cNvPr>
          <p:cNvSpPr>
            <a:spLocks noGrp="1"/>
          </p:cNvSpPr>
          <p:nvPr>
            <p:ph idx="16"/>
          </p:nvPr>
        </p:nvSpPr>
        <p:spPr/>
        <p:txBody>
          <a:bodyPr/>
          <a:lstStyle/>
          <a:p>
            <a:endParaRPr lang="zh-TW" altLang="en-US"/>
          </a:p>
        </p:txBody>
      </p:sp>
    </p:spTree>
    <p:extLst>
      <p:ext uri="{BB962C8B-B14F-4D97-AF65-F5344CB8AC3E}">
        <p14:creationId xmlns:p14="http://schemas.microsoft.com/office/powerpoint/2010/main" val="2973465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TRAZENECA" val="TEMPLATE04"/>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FRb_vGa6Ktcg9MqBm0j6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4D652D5-83BA-4C49-8C9E-B283E5C2DC94}"/>
    </a:ext>
  </a:extLst>
</a:theme>
</file>

<file path=ppt/theme/theme2.xml><?xml version="1.0" encoding="utf-8"?>
<a:theme xmlns:a="http://schemas.openxmlformats.org/drawingml/2006/main" name="AZ Divid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C405CDF7-6B1A-4359-A756-07517A4455F5}"/>
    </a:ext>
  </a:extLst>
</a:theme>
</file>

<file path=ppt/theme/theme3.xml><?xml version="1.0" encoding="utf-8"?>
<a:theme xmlns:a="http://schemas.openxmlformats.org/drawingml/2006/main" name="AZ Divider Slide Options - Colour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D6A6422-3D74-455F-BB9F-90AE73CD780D}"/>
    </a:ext>
  </a:extLst>
</a:theme>
</file>

<file path=ppt/theme/theme4.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D4B437A4-A9CF-4D1F-ADCE-993FC96AAEB1}"/>
    </a:ext>
  </a:extLst>
</a:theme>
</file>

<file path=ppt/theme/theme5.xml><?xml version="1.0" encoding="utf-8"?>
<a:theme xmlns:a="http://schemas.openxmlformats.org/drawingml/2006/main" name="1_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D4B437A4-A9CF-4D1F-ADCE-993FC96AAEB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Keyword xmlns="44a56295-c29e-4898-8136-a54736c65b82" xsi:nil="true"/>
    <Descriptions xmlns="44a56295-c29e-4898-8136-a54736c65b8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FFBD93DCF791F4EBDEE96E25A4996DE" ma:contentTypeVersion="15" ma:contentTypeDescription="Create a new document." ma:contentTypeScope="" ma:versionID="3ba31ceb1100564f1d2b84006ac94d58">
  <xsd:schema xmlns:xsd="http://www.w3.org/2001/XMLSchema" xmlns:xs="http://www.w3.org/2001/XMLSchema" xmlns:p="http://schemas.microsoft.com/office/2006/metadata/properties" xmlns:ns3="44a56295-c29e-4898-8136-a54736c65b82" xmlns:ns4="59426500-f1c3-4877-b292-42672ff11ed5" xmlns:ns5="2775adab-4e3a-40e4-80d1-ba370e741bd9" targetNamespace="http://schemas.microsoft.com/office/2006/metadata/properties" ma:root="true" ma:fieldsID="a87cfc1a52330b3a70e0c43f2b1738c7" ns3:_="" ns4:_="" ns5:_="">
    <xsd:import namespace="44a56295-c29e-4898-8136-a54736c65b82"/>
    <xsd:import namespace="59426500-f1c3-4877-b292-42672ff11ed5"/>
    <xsd:import namespace="2775adab-4e3a-40e4-80d1-ba370e741bd9"/>
    <xsd:element name="properties">
      <xsd:complexType>
        <xsd:sequence>
          <xsd:element name="documentManagement">
            <xsd:complexType>
              <xsd:all>
                <xsd:element ref="ns3:Descriptions" minOccurs="0"/>
                <xsd:element ref="ns3:Keyword"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5:SharedWithUsers" minOccurs="0"/>
                <xsd:element ref="ns5:SharedWithDetails" minOccurs="0"/>
                <xsd:element ref="ns5: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a56295-c29e-4898-8136-a54736c65b82" elementFormDefault="qualified">
    <xsd:import namespace="http://schemas.microsoft.com/office/2006/documentManagement/types"/>
    <xsd:import namespace="http://schemas.microsoft.com/office/infopath/2007/PartnerControls"/>
    <xsd:element name="Descriptions" ma:index="8" nillable="true" ma:displayName="Descriptions" ma:description="Describe your document to make it appear at the top of search results" ma:internalName="Descriptions">
      <xsd:simpleType>
        <xsd:restriction base="dms:Note">
          <xsd:maxLength value="255"/>
        </xsd:restriction>
      </xsd:simpleType>
    </xsd:element>
    <xsd:element name="Keyword" ma:index="9" nillable="true" ma:displayName="Keyword" ma:description="Enter list of terms separated by semi-colon(;)" ma:internalName="Keywor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426500-f1c3-4877-b292-42672ff11ed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775adab-4e3a-40e4-80d1-ba370e741bd9"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SharingHintHash" ma:index="2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1ee89e71-04cd-405e-9ca3-99e020c1694d" ContentTypeId="0x0101" PreviousValue="false"/>
</file>

<file path=customXml/itemProps1.xml><?xml version="1.0" encoding="utf-8"?>
<ds:datastoreItem xmlns:ds="http://schemas.openxmlformats.org/officeDocument/2006/customXml" ds:itemID="{5CD2F452-87CE-4ED1-9FAC-E0B8241B51ED}">
  <ds:schemaRefs>
    <ds:schemaRef ds:uri="44a56295-c29e-4898-8136-a54736c65b82"/>
    <ds:schemaRef ds:uri="http://www.w3.org/XML/1998/namespace"/>
    <ds:schemaRef ds:uri="http://purl.org/dc/elements/1.1/"/>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http://purl.org/dc/terms/"/>
    <ds:schemaRef ds:uri="2775adab-4e3a-40e4-80d1-ba370e741bd9"/>
    <ds:schemaRef ds:uri="59426500-f1c3-4877-b292-42672ff11ed5"/>
    <ds:schemaRef ds:uri="http://schemas.microsoft.com/office/2006/metadata/properties"/>
  </ds:schemaRefs>
</ds:datastoreItem>
</file>

<file path=customXml/itemProps2.xml><?xml version="1.0" encoding="utf-8"?>
<ds:datastoreItem xmlns:ds="http://schemas.openxmlformats.org/officeDocument/2006/customXml" ds:itemID="{2CFE75B4-8CD4-48C4-8E6D-09AAC2A5B66F}">
  <ds:schemaRefs>
    <ds:schemaRef ds:uri="http://schemas.microsoft.com/sharepoint/v3/contenttype/forms"/>
  </ds:schemaRefs>
</ds:datastoreItem>
</file>

<file path=customXml/itemProps3.xml><?xml version="1.0" encoding="utf-8"?>
<ds:datastoreItem xmlns:ds="http://schemas.openxmlformats.org/officeDocument/2006/customXml" ds:itemID="{8F410BA8-75FD-4EEC-A374-CD97E1BC18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a56295-c29e-4898-8136-a54736c65b82"/>
    <ds:schemaRef ds:uri="59426500-f1c3-4877-b292-42672ff11ed5"/>
    <ds:schemaRef ds:uri="2775adab-4e3a-40e4-80d1-ba370e741b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1C780B0-CE86-42A8-84BD-51EEE502EA5F}">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blank</Template>
  <TotalTime>2998</TotalTime>
  <Words>89</Words>
  <Application>Microsoft Office PowerPoint</Application>
  <PresentationFormat>如螢幕大小 (16:9)</PresentationFormat>
  <Paragraphs>9</Paragraphs>
  <Slides>5</Slides>
  <Notes>0</Notes>
  <HiddenSlides>0</HiddenSlides>
  <MMClips>0</MMClips>
  <ScaleCrop>false</ScaleCrop>
  <HeadingPairs>
    <vt:vector size="8" baseType="variant">
      <vt:variant>
        <vt:lpstr>使用字型</vt:lpstr>
      </vt:variant>
      <vt:variant>
        <vt:i4>2</vt:i4>
      </vt:variant>
      <vt:variant>
        <vt:lpstr>佈景主題</vt:lpstr>
      </vt:variant>
      <vt:variant>
        <vt:i4>5</vt:i4>
      </vt:variant>
      <vt:variant>
        <vt:lpstr>內嵌 OLE 伺服程式</vt:lpstr>
      </vt:variant>
      <vt:variant>
        <vt:i4>1</vt:i4>
      </vt:variant>
      <vt:variant>
        <vt:lpstr>投影片標題</vt:lpstr>
      </vt:variant>
      <vt:variant>
        <vt:i4>5</vt:i4>
      </vt:variant>
    </vt:vector>
  </HeadingPairs>
  <TitlesOfParts>
    <vt:vector size="13" baseType="lpstr">
      <vt:lpstr>Arial</vt:lpstr>
      <vt:lpstr>Calibri</vt:lpstr>
      <vt:lpstr>AZ Cover Slide Options</vt:lpstr>
      <vt:lpstr>AZ Divider Slide Options</vt:lpstr>
      <vt:lpstr>AZ Divider Slide Options - Colours</vt:lpstr>
      <vt:lpstr>AZ General Master Slide Options</vt:lpstr>
      <vt:lpstr>1_AZ General Master Slide Options</vt:lpstr>
      <vt:lpstr>think-cell Slide</vt:lpstr>
      <vt:lpstr>Go~Go~Goal 2021 高風險病人血脂達標及促進方案競賽  ASCVD高風險病人血脂照護品質提升   簡報主題：     參賽單位：</vt:lpstr>
      <vt:lpstr>促進方案發想背景 – 想解決什麼問題?</vt:lpstr>
      <vt:lpstr>促進方案介紹 – 怎麼做?</vt:lpstr>
      <vt:lpstr>促進方案成本估算 – 要多少人力?多少金額投入?</vt:lpstr>
      <vt:lpstr>促進方案(預期)成果 – 改善了什麼?  </vt:lpstr>
    </vt:vector>
  </TitlesOfParts>
  <Company>AstraZene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ia Area FLT Meeting</dc:title>
  <dc:creator>Wattanapakin, Kritsada</dc:creator>
  <cp:keywords>16:9</cp:keywords>
  <dc:description>v1.0</dc:description>
  <cp:lastModifiedBy>Shih, Bill</cp:lastModifiedBy>
  <cp:revision>34</cp:revision>
  <cp:lastPrinted>2015-02-23T14:12:16Z</cp:lastPrinted>
  <dcterms:created xsi:type="dcterms:W3CDTF">2017-03-21T00:12:33Z</dcterms:created>
  <dcterms:modified xsi:type="dcterms:W3CDTF">2021-05-06T02:37:38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y fmtid="{D5CDD505-2E9C-101B-9397-08002B2CF9AE}" pid="7" name="ContentTypeId">
    <vt:lpwstr>0x0101007FFBD93DCF791F4EBDEE96E25A4996DE</vt:lpwstr>
  </property>
</Properties>
</file>